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3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5.xml" ContentType="application/vnd.openxmlformats-officedocument.theme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3" r:id="rId4"/>
    <p:sldMasterId id="2147483699" r:id="rId5"/>
    <p:sldMasterId id="2147483729" r:id="rId6"/>
    <p:sldMasterId id="2147483759" r:id="rId7"/>
    <p:sldMasterId id="2147483789" r:id="rId8"/>
    <p:sldMasterId id="2147483819" r:id="rId9"/>
  </p:sldMasterIdLst>
  <p:notesMasterIdLst>
    <p:notesMasterId r:id="rId14"/>
  </p:notesMasterIdLst>
  <p:handoutMasterIdLst>
    <p:handoutMasterId r:id="rId15"/>
  </p:handoutMasterIdLst>
  <p:sldIdLst>
    <p:sldId id="256" r:id="rId10"/>
    <p:sldId id="4575" r:id="rId11"/>
    <p:sldId id="4576" r:id="rId12"/>
    <p:sldId id="4577" r:id="rId13"/>
  </p:sldIdLst>
  <p:sldSz cx="12192000" cy="6858000"/>
  <p:notesSz cx="6797675" cy="9926638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1" userDrawn="1">
          <p15:clr>
            <a:srgbClr val="A4A3A4"/>
          </p15:clr>
        </p15:guide>
        <p15:guide id="4" pos="3727" userDrawn="1">
          <p15:clr>
            <a:srgbClr val="A4A3A4"/>
          </p15:clr>
        </p15:guide>
        <p15:guide id="5" pos="234" userDrawn="1">
          <p15:clr>
            <a:srgbClr val="A4A3A4"/>
          </p15:clr>
        </p15:guide>
        <p15:guide id="6" pos="3999" userDrawn="1">
          <p15:clr>
            <a:srgbClr val="A4A3A4"/>
          </p15:clr>
        </p15:guide>
        <p15:guide id="7" pos="7174" userDrawn="1">
          <p15:clr>
            <a:srgbClr val="A4A3A4"/>
          </p15:clr>
        </p15:guide>
        <p15:guide id="8" orient="horz" pos="3952" userDrawn="1">
          <p15:clr>
            <a:srgbClr val="A4A3A4"/>
          </p15:clr>
        </p15:guide>
        <p15:guide id="9" orient="horz" pos="4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2191137-51F5-1E2A-540E-210CF993512F}" name="Ute Kretschmann" initials="UK" userId="S::ute.kretschmann@lichtblick.de::20c0ad1e-8fa9-4a84-9a9d-e489d256fb2b" providerId="AD"/>
  <p188:author id="{90C351A6-75AD-B0EF-7E84-295EC3754066}" name="Ruud Wijtvliet" initials="RW" userId="S::ruud.wijtvliet@lichtblick.de::f269e1fc-1721-4a7b-893a-9a007a1a3fa4" providerId="AD"/>
  <p188:author id="{F8DC70F4-6B7D-A3CD-B6D5-5059F55CADBC}" name="Anna Lauer" initials="AL" userId="S::anna.lauer@lichtblick.de::618892cd-8e60-4d3c-9e05-fc9293d315b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vonne Jemal" initials="YJ" lastIdx="1" clrIdx="0">
    <p:extLst>
      <p:ext uri="{19B8F6BF-5375-455C-9EA6-DF929625EA0E}">
        <p15:presenceInfo xmlns:p15="http://schemas.microsoft.com/office/powerpoint/2012/main" userId="S::yvonne.jemal@lichtblick.de::622fc671-22f5-457f-9065-680bc9454cd9" providerId="AD"/>
      </p:ext>
    </p:extLst>
  </p:cmAuthor>
  <p:cmAuthor id="2" name="Bettina Hinken" initials="BH" lastIdx="5" clrIdx="1">
    <p:extLst>
      <p:ext uri="{19B8F6BF-5375-455C-9EA6-DF929625EA0E}">
        <p15:presenceInfo xmlns:p15="http://schemas.microsoft.com/office/powerpoint/2012/main" userId="S::bettina.hinken@lichtblick.de::9646a4b2-77c5-43ef-9712-d11c1d0cdbd8" providerId="AD"/>
      </p:ext>
    </p:extLst>
  </p:cmAuthor>
  <p:cmAuthor id="3" name="André Schneider" initials="AS" lastIdx="1" clrIdx="2">
    <p:extLst>
      <p:ext uri="{19B8F6BF-5375-455C-9EA6-DF929625EA0E}">
        <p15:presenceInfo xmlns:p15="http://schemas.microsoft.com/office/powerpoint/2012/main" userId="S::andre.schneider@lichtblick.de::8a469087-e667-4343-b0e8-7a89c41d27b3" providerId="AD"/>
      </p:ext>
    </p:extLst>
  </p:cmAuthor>
  <p:cmAuthor id="4" name="Jonas Beck" initials="JB" lastIdx="1" clrIdx="3">
    <p:extLst>
      <p:ext uri="{19B8F6BF-5375-455C-9EA6-DF929625EA0E}">
        <p15:presenceInfo xmlns:p15="http://schemas.microsoft.com/office/powerpoint/2012/main" userId="S::jonas.beck@lichtblick.de::213178ab-25b6-468a-9890-8a1425b71dbf" providerId="AD"/>
      </p:ext>
    </p:extLst>
  </p:cmAuthor>
  <p:cmAuthor id="5" name="Ruud Wijtvliet" initials="RW" lastIdx="1" clrIdx="4">
    <p:extLst>
      <p:ext uri="{19B8F6BF-5375-455C-9EA6-DF929625EA0E}">
        <p15:presenceInfo xmlns:p15="http://schemas.microsoft.com/office/powerpoint/2012/main" userId="S::ruud.wijtvliet@lichtblick.de::f269e1fc-1721-4a7b-893a-9a007a1a3fa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00"/>
    <a:srgbClr val="7CC199"/>
    <a:srgbClr val="758C2C"/>
    <a:srgbClr val="252D37"/>
    <a:srgbClr val="FFFFFF"/>
    <a:srgbClr val="313C49"/>
    <a:srgbClr val="92D050"/>
    <a:srgbClr val="D1D1D1"/>
    <a:srgbClr val="BAE18F"/>
    <a:srgbClr val="009B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719"/>
  </p:normalViewPr>
  <p:slideViewPr>
    <p:cSldViewPr snapToGrid="0" snapToObjects="1">
      <p:cViewPr varScale="1">
        <p:scale>
          <a:sx n="152" d="100"/>
          <a:sy n="152" d="100"/>
        </p:scale>
        <p:origin x="116" y="368"/>
      </p:cViewPr>
      <p:guideLst>
        <p:guide orient="horz" pos="391"/>
        <p:guide pos="3727"/>
        <p:guide pos="234"/>
        <p:guide pos="3999"/>
        <p:guide pos="7174"/>
        <p:guide orient="horz" pos="3952"/>
        <p:guide orient="horz" pos="45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23" Type="http://schemas.microsoft.com/office/2018/10/relationships/authors" Target="authors.xml"/><Relationship Id="rId10" Type="http://schemas.openxmlformats.org/officeDocument/2006/relationships/slide" Target="slides/slide1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uud Wijtvliet" userId="f269e1fc-1721-4a7b-893a-9a007a1a3fa4" providerId="ADAL" clId="{D788E30B-8489-43EF-8A26-315519B0690B}"/>
    <pc:docChg chg="custSel addSld modSld">
      <pc:chgData name="Ruud Wijtvliet" userId="f269e1fc-1721-4a7b-893a-9a007a1a3fa4" providerId="ADAL" clId="{D788E30B-8489-43EF-8A26-315519B0690B}" dt="2022-05-11T09:31:38.381" v="45" actId="22"/>
      <pc:docMkLst>
        <pc:docMk/>
      </pc:docMkLst>
      <pc:sldChg chg="modSp mod">
        <pc:chgData name="Ruud Wijtvliet" userId="f269e1fc-1721-4a7b-893a-9a007a1a3fa4" providerId="ADAL" clId="{D788E30B-8489-43EF-8A26-315519B0690B}" dt="2022-05-11T09:29:36.768" v="38" actId="20577"/>
        <pc:sldMkLst>
          <pc:docMk/>
          <pc:sldMk cId="2177662171" sldId="256"/>
        </pc:sldMkLst>
        <pc:spChg chg="mod">
          <ac:chgData name="Ruud Wijtvliet" userId="f269e1fc-1721-4a7b-893a-9a007a1a3fa4" providerId="ADAL" clId="{D788E30B-8489-43EF-8A26-315519B0690B}" dt="2022-05-11T09:29:36.768" v="38" actId="20577"/>
          <ac:spMkLst>
            <pc:docMk/>
            <pc:sldMk cId="2177662171" sldId="256"/>
            <ac:spMk id="2" creationId="{00000000-0000-0000-0000-000000000000}"/>
          </ac:spMkLst>
        </pc:spChg>
        <pc:spChg chg="mod">
          <ac:chgData name="Ruud Wijtvliet" userId="f269e1fc-1721-4a7b-893a-9a007a1a3fa4" providerId="ADAL" clId="{D788E30B-8489-43EF-8A26-315519B0690B}" dt="2022-05-11T09:29:31.157" v="28" actId="20577"/>
          <ac:spMkLst>
            <pc:docMk/>
            <pc:sldMk cId="2177662171" sldId="256"/>
            <ac:spMk id="5" creationId="{7196007C-D355-46DC-AEC8-8F05BBF16D84}"/>
          </ac:spMkLst>
        </pc:spChg>
      </pc:sldChg>
      <pc:sldChg chg="addSp modSp mod">
        <pc:chgData name="Ruud Wijtvliet" userId="f269e1fc-1721-4a7b-893a-9a007a1a3fa4" providerId="ADAL" clId="{D788E30B-8489-43EF-8A26-315519B0690B}" dt="2022-04-27T13:00:47.093" v="26" actId="1076"/>
        <pc:sldMkLst>
          <pc:docMk/>
          <pc:sldMk cId="3050007247" sldId="2147469389"/>
        </pc:sldMkLst>
        <pc:spChg chg="add mod">
          <ac:chgData name="Ruud Wijtvliet" userId="f269e1fc-1721-4a7b-893a-9a007a1a3fa4" providerId="ADAL" clId="{D788E30B-8489-43EF-8A26-315519B0690B}" dt="2022-04-27T13:00:47.093" v="26" actId="1076"/>
          <ac:spMkLst>
            <pc:docMk/>
            <pc:sldMk cId="3050007247" sldId="2147469389"/>
            <ac:spMk id="11" creationId="{637640B6-3EC9-414F-BCA8-75DA8DBCDA0C}"/>
          </ac:spMkLst>
        </pc:spChg>
        <pc:graphicFrameChg chg="modGraphic">
          <ac:chgData name="Ruud Wijtvliet" userId="f269e1fc-1721-4a7b-893a-9a007a1a3fa4" providerId="ADAL" clId="{D788E30B-8489-43EF-8A26-315519B0690B}" dt="2022-04-27T12:55:52.382" v="6" actId="20577"/>
          <ac:graphicFrameMkLst>
            <pc:docMk/>
            <pc:sldMk cId="3050007247" sldId="2147469389"/>
            <ac:graphicFrameMk id="5" creationId="{A68BC7FF-546D-4571-A299-472A1CFCC9DD}"/>
          </ac:graphicFrameMkLst>
        </pc:graphicFrameChg>
      </pc:sldChg>
      <pc:sldChg chg="modSp mod">
        <pc:chgData name="Ruud Wijtvliet" userId="f269e1fc-1721-4a7b-893a-9a007a1a3fa4" providerId="ADAL" clId="{D788E30B-8489-43EF-8A26-315519B0690B}" dt="2022-04-27T12:55:57.012" v="13" actId="20577"/>
        <pc:sldMkLst>
          <pc:docMk/>
          <pc:sldMk cId="765393764" sldId="2147469406"/>
        </pc:sldMkLst>
        <pc:graphicFrameChg chg="modGraphic">
          <ac:chgData name="Ruud Wijtvliet" userId="f269e1fc-1721-4a7b-893a-9a007a1a3fa4" providerId="ADAL" clId="{D788E30B-8489-43EF-8A26-315519B0690B}" dt="2022-04-27T12:55:57.012" v="13" actId="20577"/>
          <ac:graphicFrameMkLst>
            <pc:docMk/>
            <pc:sldMk cId="765393764" sldId="2147469406"/>
            <ac:graphicFrameMk id="5" creationId="{A68BC7FF-546D-4571-A299-472A1CFCC9DD}"/>
          </ac:graphicFrameMkLst>
        </pc:graphicFrameChg>
      </pc:sldChg>
      <pc:sldChg chg="modSp mod">
        <pc:chgData name="Ruud Wijtvliet" userId="f269e1fc-1721-4a7b-893a-9a007a1a3fa4" providerId="ADAL" clId="{D788E30B-8489-43EF-8A26-315519B0690B}" dt="2022-04-27T12:56:01.137" v="20" actId="20577"/>
        <pc:sldMkLst>
          <pc:docMk/>
          <pc:sldMk cId="1046569086" sldId="2147469407"/>
        </pc:sldMkLst>
        <pc:graphicFrameChg chg="modGraphic">
          <ac:chgData name="Ruud Wijtvliet" userId="f269e1fc-1721-4a7b-893a-9a007a1a3fa4" providerId="ADAL" clId="{D788E30B-8489-43EF-8A26-315519B0690B}" dt="2022-04-27T12:56:01.137" v="20" actId="20577"/>
          <ac:graphicFrameMkLst>
            <pc:docMk/>
            <pc:sldMk cId="1046569086" sldId="2147469407"/>
            <ac:graphicFrameMk id="5" creationId="{A68BC7FF-546D-4571-A299-472A1CFCC9DD}"/>
          </ac:graphicFrameMkLst>
        </pc:graphicFrameChg>
      </pc:sldChg>
      <pc:sldChg chg="addSp delSp modSp new mod">
        <pc:chgData name="Ruud Wijtvliet" userId="f269e1fc-1721-4a7b-893a-9a007a1a3fa4" providerId="ADAL" clId="{D788E30B-8489-43EF-8A26-315519B0690B}" dt="2022-05-11T09:31:38.381" v="45" actId="22"/>
        <pc:sldMkLst>
          <pc:docMk/>
          <pc:sldMk cId="560021027" sldId="2147469436"/>
        </pc:sldMkLst>
        <pc:spChg chg="add del mod">
          <ac:chgData name="Ruud Wijtvliet" userId="f269e1fc-1721-4a7b-893a-9a007a1a3fa4" providerId="ADAL" clId="{D788E30B-8489-43EF-8A26-315519B0690B}" dt="2022-05-11T09:30:58.222" v="42" actId="478"/>
          <ac:spMkLst>
            <pc:docMk/>
            <pc:sldMk cId="560021027" sldId="2147469436"/>
            <ac:spMk id="8" creationId="{D37F19E4-DCDF-AD78-7858-C5CB849029EE}"/>
          </ac:spMkLst>
        </pc:spChg>
        <pc:spChg chg="add del">
          <ac:chgData name="Ruud Wijtvliet" userId="f269e1fc-1721-4a7b-893a-9a007a1a3fa4" providerId="ADAL" clId="{D788E30B-8489-43EF-8A26-315519B0690B}" dt="2022-05-11T09:31:10.822" v="44" actId="478"/>
          <ac:spMkLst>
            <pc:docMk/>
            <pc:sldMk cId="560021027" sldId="2147469436"/>
            <ac:spMk id="10" creationId="{7C46FA94-ADDA-4D80-EC8A-003AE3DF83A7}"/>
          </ac:spMkLst>
        </pc:spChg>
        <pc:picChg chg="add">
          <ac:chgData name="Ruud Wijtvliet" userId="f269e1fc-1721-4a7b-893a-9a007a1a3fa4" providerId="ADAL" clId="{D788E30B-8489-43EF-8A26-315519B0690B}" dt="2022-05-11T09:31:38.381" v="45" actId="22"/>
          <ac:picMkLst>
            <pc:docMk/>
            <pc:sldMk cId="560021027" sldId="2147469436"/>
            <ac:picMk id="12" creationId="{B6373CA7-4BAD-4621-BF25-80D9302818D2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D31D9BB-3D3F-4574-8E95-6559BB925E8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72479" y="9529482"/>
            <a:ext cx="5246033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200"/>
            </a:lvl1pPr>
          </a:lstStyle>
          <a:p>
            <a:endParaRPr lang="de-DE" sz="900">
              <a:solidFill>
                <a:schemeClr val="tx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7C9357A-6AAD-4A3A-BA8B-B3CB6BCDCF3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875211" y="9529482"/>
            <a:ext cx="433606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155B21DF-03F7-48D1-9EF9-341820274C28}" type="slidenum">
              <a:rPr lang="de-DE" sz="900" smtClean="0">
                <a:solidFill>
                  <a:schemeClr val="tx2"/>
                </a:solidFill>
              </a:rPr>
              <a:pPr/>
              <a:t>‹#›</a:t>
            </a:fld>
            <a:endParaRPr lang="de-DE" sz="900">
              <a:solidFill>
                <a:schemeClr val="tx2"/>
              </a:solidFill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2D74DD4B-EB2C-4938-B2CD-A8937EF2AE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11828" y="546647"/>
            <a:ext cx="1196989" cy="319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7856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19075" y="1012825"/>
            <a:ext cx="6359525" cy="35782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94824" y="4777194"/>
            <a:ext cx="5808027" cy="390861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94823" y="9316309"/>
            <a:ext cx="4938190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100">
                <a:solidFill>
                  <a:schemeClr val="tx2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17822" y="9316309"/>
            <a:ext cx="685030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fld id="{5DC6004A-C1DB-4938-ACC8-FECABC7D8C78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2D74DD4B-EB2C-4938-B2CD-A8937EF2AE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11828" y="546647"/>
            <a:ext cx="1196989" cy="319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8124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600"/>
      </a:spcBef>
      <a:buClr>
        <a:schemeClr val="tx1"/>
      </a:buClr>
      <a:buSzPct val="120000"/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buClr>
        <a:schemeClr val="tx1"/>
      </a:buClr>
      <a:buSzPct val="120000"/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buClr>
        <a:schemeClr val="tx1"/>
      </a:buClr>
      <a:buSzPct val="120000"/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buClr>
        <a:schemeClr val="tx1"/>
      </a:buClr>
      <a:buSzPct val="120000"/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9075" y="1012825"/>
            <a:ext cx="6359525" cy="3578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algn="l"/>
            <a:r>
              <a:rPr lang="de-DE"/>
              <a:t>VERTEILERKREIS: Vorstand, Jonas, Thijs, FRM, OR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C6004A-C1DB-4938-ACC8-FECABC7D8C78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65498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6004A-C1DB-4938-ACC8-FECABC7D8C78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69174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6004A-C1DB-4938-ACC8-FECABC7D8C78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75331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pn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png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png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8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8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F89C3D17-E248-4804-AE5F-61B4255FEB37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4446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49F1008A-8AE2-4C1F-BED9-B3FE100F23D7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A20353-4C62-4489-B87D-45A1DB0B31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057743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 Voll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52A69F35-392F-4767-9198-21E77CE5FA7E}" type="datetime1">
              <a:rPr lang="de-DE" smtClean="0"/>
              <a:t>2022-05-1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891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 userDrawn="1"/>
        </p:nvSpPr>
        <p:spPr>
          <a:xfrm>
            <a:off x="10574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 userDrawn="1"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3F0AA378-06B7-4C78-9CD3-F424923C560A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EC4877E5-897F-4F31-B6C0-F68FF3DF5C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42024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7C6FFFE4-DB1D-45C4-865A-3AE055B50837}" type="datetime1">
              <a:rPr lang="de-DE" smtClean="0"/>
              <a:t>2022-05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1DD650F0-E09E-49BE-B253-CB579D56F6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798862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12B9B515-8D05-4349-94AA-F2FFBE2A1904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B34C0EB0-8DD4-449C-BA9B-AF3E2F5DAD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022612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7425446B-10F1-43EC-9AEC-3B6488473FA9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DCE0F3FC-039B-43D9-A455-6ABFC1882B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557592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C3AE294-13A1-41F7-9F54-0935D343BD90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DA948FB6-FC47-446E-A416-A76D90A0FD9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19917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6EFFC9C-6550-4C6E-B107-55EC59C5F7D2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D80F10B3-8276-4E88-A6C7-07F2906546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41486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DF416048-CEF2-4ACB-B05D-F0E01B206AFA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4183A1A1-BC31-4A6E-B753-CF550ECE5E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28997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0076F90D-C704-4527-84C8-B76AF934B72F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2E98CD02-CE11-48FF-B502-815B0DFE15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473186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E1BED03D-8460-498D-A1AC-CCC54B626AC6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9486F156-60B1-4362-885B-677E4AD666C1}" type="datetime1">
              <a:rPr lang="de-DE" smtClean="0"/>
              <a:t>2022-05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95CA273A-0E00-4169-8E39-02DD820041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467376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M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14978A7-DA1B-450F-996C-500F411F734C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9679123A-B18B-4E56-B697-D2F3428DE7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954935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3000B5D6-1B57-4A6C-A392-E7418D468A3E}" type="datetime1">
              <a:rPr lang="de-DE" smtClean="0"/>
              <a:t>2022-05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E3810548-5250-4FDE-AAF9-A480E9D1A93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17414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Handy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A696F84D-DB9D-457F-BE17-29C1F65B4D3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1A87390E-C99A-49B0-99DD-16F730972911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0F31F1AC-D0ED-4F1B-B76D-58972EB3E8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857375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3E512BA9-15DC-4FAA-A0F7-40DB80896D80}"/>
              </a:ext>
            </a:extLst>
          </p:cNvPr>
          <p:cNvSpPr/>
          <p:nvPr userDrawn="1"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F1C3A58-B38A-4CAC-B61E-107678A657BD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64999305-2975-4935-BDB6-2F64448E1C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7865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F4D442B0-99F5-4C88-8580-A83BDAD26F45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6BC8012-345C-4D70-BCE4-A8E328CA218E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3A0209CD-0EAD-4006-95BF-47A32ED2291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544666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F0F9CF50-A5B4-4E10-9E9C-D45EC952D1C1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EFB095B4-D464-4FD4-A661-443649D94E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411344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E74BF349-2092-41CE-BDBD-2DC5DBBBD46B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874D5A43-2C95-4DB8-A61B-C912D9B635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578881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065C7241-0C3E-4E80-8636-C2D7210D694F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8B3E8EA9-ED89-44AD-944F-7AB45C2A9C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BD1335FE-9238-49F1-B046-85B79AC21B7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6326D442-2FA1-424B-B8C3-8E15D5C0F6A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E7169186-C1A6-42A0-8C13-305536EEA5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29C7777F-47CA-4354-A701-435081F6203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</p:spTree>
    <p:extLst>
      <p:ext uri="{BB962C8B-B14F-4D97-AF65-F5344CB8AC3E}">
        <p14:creationId xmlns:p14="http://schemas.microsoft.com/office/powerpoint/2010/main" val="40921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9CFBD242-CCE0-4AAB-948F-2E840AC92C17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7CA9ED3C-F856-4B24-AFF5-BF7401C1E8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AFC3C4AA-3F1C-4900-8CC8-05E1684B69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48" name="Textplatzhalter 16">
            <a:extLst>
              <a:ext uri="{FF2B5EF4-FFF2-40B4-BE49-F238E27FC236}">
                <a16:creationId xmlns:a16="http://schemas.microsoft.com/office/drawing/2014/main" id="{42B1AC03-AF2D-4961-A025-D2BE129137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714DE5B4-49A1-4374-973F-80057B9B0DA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5" name="Textplatzhalter 8">
            <a:extLst>
              <a:ext uri="{FF2B5EF4-FFF2-40B4-BE49-F238E27FC236}">
                <a16:creationId xmlns:a16="http://schemas.microsoft.com/office/drawing/2014/main" id="{8646398D-4AC5-42B0-9613-838125C948F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6" name="Textplatzhalter 8">
            <a:extLst>
              <a:ext uri="{FF2B5EF4-FFF2-40B4-BE49-F238E27FC236}">
                <a16:creationId xmlns:a16="http://schemas.microsoft.com/office/drawing/2014/main" id="{504B4414-BCD5-4F71-A43E-B3CA8DBA447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7" name="Textplatzhalter 16">
            <a:extLst>
              <a:ext uri="{FF2B5EF4-FFF2-40B4-BE49-F238E27FC236}">
                <a16:creationId xmlns:a16="http://schemas.microsoft.com/office/drawing/2014/main" id="{4D09590D-D2C1-44AF-ACAC-0188061A492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544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CC5FBE0A-5E7F-4532-9701-21B28E4AC88D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68B98F02-88B6-43DA-850B-E541AC1D4D2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9360EC0E-52DA-46BB-8F53-69EA746ED69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C51A8DC6-8327-4FD2-9447-FBB09787E53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C9D582C2-6062-46AF-89D2-952BF18A713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BBF4CD8E-6624-4CD4-AB24-1B4FC7155A6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31683E52-D1AD-4EA2-9A0A-6B9EE1EE825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C1DBBB8A-1E3A-4CC1-A0A2-1E4A8A60CB9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3967A4B6-B907-4CB8-AEE2-CA351AD98D4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E2A9C62B-3D57-48F1-9E4D-1F14F60B93E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20956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CB70B032-9547-48B0-ACB3-773CE114E0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3EF3FAAE-2B48-4C5E-AECA-407D5B2D8050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5A3BE85-32C1-41ED-8590-D005944BBED9}"/>
              </a:ext>
            </a:extLst>
          </p:cNvPr>
          <p:cNvGrpSpPr/>
          <p:nvPr userDrawn="1"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CD00986-D9D7-428D-8EE2-B69E9855DE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CAE2FFA1-270A-457B-978C-9C18535ECC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41EDA88F-74B5-4E03-9F1F-7C6F6D979DA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594657D7-7BEB-4DC8-A5EE-424517F4A5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14F6CA1C-C9C1-4462-B670-091989EE0B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AD691704-76C6-4000-8FB0-A746D1B559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7688B688-C68E-4FE2-B0B5-C0DD1A1A6A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933B3614-1495-456C-8ACA-436A58875A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AC3466E6-C141-413F-9CAD-4FE8537191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D3D4B22D-6EF7-4D0F-A3BB-5F9791F351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52243236-17D3-489D-B36A-66F7F8C9BE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67D7E1C2-3873-44E2-8A6F-F56E2789EA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C5FF1A6B-B6B7-4A45-B919-B552817464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Untertitel 2">
            <a:extLst>
              <a:ext uri="{FF2B5EF4-FFF2-40B4-BE49-F238E27FC236}">
                <a16:creationId xmlns:a16="http://schemas.microsoft.com/office/drawing/2014/main" id="{AECB41C7-7396-4C6D-9194-4C8205DFEE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5C65CDD3-31CA-4B03-9D13-CA2FD24CDE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18BD84AB-4247-421B-B14C-16920441F303}" type="datetime1">
              <a:rPr lang="de-DE" smtClean="0"/>
              <a:t>2022-05-13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4ACEEDEE-8D8A-4224-A014-B68A3C73B3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47" name="Foliennummernplatzhalter 5">
            <a:extLst>
              <a:ext uri="{FF2B5EF4-FFF2-40B4-BE49-F238E27FC236}">
                <a16:creationId xmlns:a16="http://schemas.microsoft.com/office/drawing/2014/main" id="{B2357643-3032-430B-B309-5764553A8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3E295932-9950-4AC4-BD57-14B3AD9D6745}"/>
              </a:ext>
            </a:extLst>
          </p:cNvPr>
          <p:cNvSpPr txBox="1">
            <a:spLocks/>
          </p:cNvSpPr>
          <p:nvPr userDrawn="1"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7248AC69-D52F-44EC-AF0F-654A28D401B9}"/>
              </a:ext>
            </a:extLst>
          </p:cNvPr>
          <p:cNvSpPr txBox="1">
            <a:spLocks/>
          </p:cNvSpPr>
          <p:nvPr userDrawn="1"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276501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1014572B-82FC-4953-8354-1C7D808621C2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CE47D79E-DE22-4CBC-BC3F-D6E47CD3607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211478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954389BA-EBDB-40CF-9ED1-81C5AB52F37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815A5DA0-09BC-421E-AA22-5CE7B814373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F22D1C60-17A8-42B9-BEF2-62D475D27EC0}"/>
              </a:ext>
            </a:extLst>
          </p:cNvPr>
          <p:cNvGrpSpPr/>
          <p:nvPr userDrawn="1"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1041E06D-C9A5-4F97-8E9D-42CC29D6AE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914A7617-51A4-4DED-96CE-5B13DC223F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E64A89A4-84BD-4FDF-97CB-1FEE2AD7D9D4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5" name="Freeform 7">
                <a:extLst>
                  <a:ext uri="{FF2B5EF4-FFF2-40B4-BE49-F238E27FC236}">
                    <a16:creationId xmlns:a16="http://schemas.microsoft.com/office/drawing/2014/main" id="{CAB8A0E0-343C-419C-AEDD-CE24D7D779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8">
                <a:extLst>
                  <a:ext uri="{FF2B5EF4-FFF2-40B4-BE49-F238E27FC236}">
                    <a16:creationId xmlns:a16="http://schemas.microsoft.com/office/drawing/2014/main" id="{21DDD0E6-054D-4483-98B8-E36652F552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9">
                <a:extLst>
                  <a:ext uri="{FF2B5EF4-FFF2-40B4-BE49-F238E27FC236}">
                    <a16:creationId xmlns:a16="http://schemas.microsoft.com/office/drawing/2014/main" id="{086C3B2F-A61E-49F6-8101-95EFF0271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0">
                <a:extLst>
                  <a:ext uri="{FF2B5EF4-FFF2-40B4-BE49-F238E27FC236}">
                    <a16:creationId xmlns:a16="http://schemas.microsoft.com/office/drawing/2014/main" id="{9701EC43-1086-45FE-8113-AE53A121C8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1">
                <a:extLst>
                  <a:ext uri="{FF2B5EF4-FFF2-40B4-BE49-F238E27FC236}">
                    <a16:creationId xmlns:a16="http://schemas.microsoft.com/office/drawing/2014/main" id="{E2DA50DF-0753-4E76-9C65-A37262ED09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2">
                <a:extLst>
                  <a:ext uri="{FF2B5EF4-FFF2-40B4-BE49-F238E27FC236}">
                    <a16:creationId xmlns:a16="http://schemas.microsoft.com/office/drawing/2014/main" id="{F9528D5D-7E8A-49E8-835E-D9855832C2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3">
                <a:extLst>
                  <a:ext uri="{FF2B5EF4-FFF2-40B4-BE49-F238E27FC236}">
                    <a16:creationId xmlns:a16="http://schemas.microsoft.com/office/drawing/2014/main" id="{3999363A-AAB2-4377-9484-9D312C652B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4">
                <a:extLst>
                  <a:ext uri="{FF2B5EF4-FFF2-40B4-BE49-F238E27FC236}">
                    <a16:creationId xmlns:a16="http://schemas.microsoft.com/office/drawing/2014/main" id="{05A8FFB4-ACFE-47EC-95D9-C4379DF917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5">
                <a:extLst>
                  <a:ext uri="{FF2B5EF4-FFF2-40B4-BE49-F238E27FC236}">
                    <a16:creationId xmlns:a16="http://schemas.microsoft.com/office/drawing/2014/main" id="{CD0668DE-B26C-4FD0-8AA9-8542B9D4E1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6">
                <a:extLst>
                  <a:ext uri="{FF2B5EF4-FFF2-40B4-BE49-F238E27FC236}">
                    <a16:creationId xmlns:a16="http://schemas.microsoft.com/office/drawing/2014/main" id="{FFC7A754-CEA1-4B09-9B25-6CFDB24B49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09735178-CFC8-462A-ACC8-36E3E308536C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7FB3D53A-D2FC-443B-B0A3-242543BA97FD}" type="datetime1">
              <a:rPr lang="de-DE" smtClean="0"/>
              <a:t>2022-05-13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62957B3B-9E2F-48F0-A9FA-C7187EA32B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47" name="Foliennummernplatzhalter 4">
            <a:extLst>
              <a:ext uri="{FF2B5EF4-FFF2-40B4-BE49-F238E27FC236}">
                <a16:creationId xmlns:a16="http://schemas.microsoft.com/office/drawing/2014/main" id="{3F5D8E33-1B15-4493-B881-F834B82BD27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Untertitel 2">
            <a:extLst>
              <a:ext uri="{FF2B5EF4-FFF2-40B4-BE49-F238E27FC236}">
                <a16:creationId xmlns:a16="http://schemas.microsoft.com/office/drawing/2014/main" id="{77FF5120-DB42-4311-BAAD-80A5DE6E67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7457A486-B0B2-41A4-9CEE-BC72E5299BE1}"/>
              </a:ext>
            </a:extLst>
          </p:cNvPr>
          <p:cNvSpPr txBox="1">
            <a:spLocks/>
          </p:cNvSpPr>
          <p:nvPr userDrawn="1"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10A421AD-5044-43F6-8152-31C3506979F5}"/>
              </a:ext>
            </a:extLst>
          </p:cNvPr>
          <p:cNvSpPr txBox="1">
            <a:spLocks/>
          </p:cNvSpPr>
          <p:nvPr userDrawn="1"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4093122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4B6A6BBB-464C-4FB3-8237-1AAC1BC3C711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74871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_LichtBli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 userDrawn="1"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4768C433-66C7-4FE2-A025-92AC3A563C98}" type="datetime1">
              <a:rPr lang="de-DE" smtClean="0"/>
              <a:t>2022-05-13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Gas positions</a:t>
            </a:r>
            <a:endParaRPr lang="de-DE"/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0962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eeg_zonder afbeelding">
  <p:cSld name="Leeg_zonder afbeelding">
    <p:bg>
      <p:bgPr>
        <a:solidFill>
          <a:schemeClr val="lt1"/>
        </a:solidFill>
        <a:effectLst/>
      </p:bgPr>
    </p:bg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p23"/>
          <p:cNvSpPr txBox="1">
            <a:spLocks noGrp="1"/>
          </p:cNvSpPr>
          <p:nvPr>
            <p:ph type="sldNum" idx="12"/>
          </p:nvPr>
        </p:nvSpPr>
        <p:spPr>
          <a:xfrm>
            <a:off x="11472000" y="6426000"/>
            <a:ext cx="720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21803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A21CC0C-9E8D-4C24-9E7F-C97DA638FC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773889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A21CC0C-9E8D-4C24-9E7F-C97DA638F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5DB71C0-9244-452D-BE44-912C57054A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0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4395E3-F501-4F02-AE5A-4174911F5A96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430798" y="432000"/>
            <a:ext cx="11340000" cy="712588"/>
          </a:xfrm>
        </p:spPr>
        <p:txBody>
          <a:bodyPr lIns="0" tIns="0" anchor="t">
            <a:noAutofit/>
          </a:bodyPr>
          <a:lstStyle>
            <a:lvl1pPr marL="0" indent="0">
              <a:lnSpc>
                <a:spcPts val="2500"/>
              </a:lnSpc>
              <a:defRPr sz="18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926ED3-4CC5-423A-90D3-CFD2CF5182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0798" y="1371858"/>
            <a:ext cx="11340000" cy="4595784"/>
          </a:xfrm>
        </p:spPr>
        <p:txBody>
          <a:bodyPr lIns="0" tIns="0" rIns="0" bIns="0">
            <a:noAutofit/>
          </a:bodyPr>
          <a:lstStyle>
            <a:lvl1pPr marL="180975" indent="-180975">
              <a:defRPr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2pPr>
            <a:lvl3pPr>
              <a:defRPr sz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3pPr>
            <a:lvl4pPr>
              <a:defRPr sz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4pPr>
            <a:lvl5pPr>
              <a:defRPr sz="13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B5530E8-FE76-4139-9FA4-67D16096A57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2114" y="6179999"/>
            <a:ext cx="965757" cy="462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0EE5BDD-1545-41A0-BB6F-FF11EEA034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2002" y="6180420"/>
            <a:ext cx="496128" cy="461963"/>
          </a:xfrm>
        </p:spPr>
        <p:txBody>
          <a:bodyPr lIns="0" tIns="0" rIns="0" bIns="0" anchor="ctr"/>
          <a:lstStyle>
            <a:lvl1pPr algn="l">
              <a:defRPr sz="1200">
                <a:solidFill>
                  <a:srgbClr val="4C4037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76E5E044-5B03-4DD6-8A99-075C9A3071F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4CF50D7A-9577-4EB0-8182-CC5D931170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50509" y="6179580"/>
            <a:ext cx="7809221" cy="462804"/>
          </a:xfrm>
        </p:spPr>
        <p:txBody>
          <a:bodyPr lIns="0" tIns="0" rIns="0" bIns="0" anchor="ctr"/>
          <a:lstStyle>
            <a:lvl1pPr algn="l">
              <a:defRPr sz="9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Gas positions</a:t>
            </a:r>
            <a:endParaRPr lang="en-GB"/>
          </a:p>
        </p:txBody>
      </p:sp>
      <p:grpSp>
        <p:nvGrpSpPr>
          <p:cNvPr id="11" name="Gruppieren 7">
            <a:extLst>
              <a:ext uri="{FF2B5EF4-FFF2-40B4-BE49-F238E27FC236}">
                <a16:creationId xmlns:a16="http://schemas.microsoft.com/office/drawing/2014/main" id="{A02E205F-58FC-429C-839A-AC12ACA05F37}"/>
              </a:ext>
            </a:extLst>
          </p:cNvPr>
          <p:cNvGrpSpPr/>
          <p:nvPr userDrawn="1"/>
        </p:nvGrpSpPr>
        <p:grpSpPr>
          <a:xfrm>
            <a:off x="10453545" y="6240944"/>
            <a:ext cx="1274620" cy="3400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DA81F41F-CED9-43B8-A66A-D70B3B70A8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6211E783-1115-47AA-899C-D26DF0C345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4">
              <a:extLst>
                <a:ext uri="{FF2B5EF4-FFF2-40B4-BE49-F238E27FC236}">
                  <a16:creationId xmlns:a16="http://schemas.microsoft.com/office/drawing/2014/main" id="{4917BD83-79BE-4445-89AE-4EE545720340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A454DE3A-1ECD-4854-973D-AA4D09248A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A20292F1-4125-41C6-A59F-3BD431EBE5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20E93F79-7AD2-458B-B8F8-9EC141BA1D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68147659-87BC-47BE-8484-9637E7F8F5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8A248024-5C69-4349-8C1D-591A831276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2">
                <a:extLst>
                  <a:ext uri="{FF2B5EF4-FFF2-40B4-BE49-F238E27FC236}">
                    <a16:creationId xmlns:a16="http://schemas.microsoft.com/office/drawing/2014/main" id="{5D1B19D5-38FD-4FC5-AE92-A925771FE0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3">
                <a:extLst>
                  <a:ext uri="{FF2B5EF4-FFF2-40B4-BE49-F238E27FC236}">
                    <a16:creationId xmlns:a16="http://schemas.microsoft.com/office/drawing/2014/main" id="{DC82C284-3754-4F0D-B89E-CFF71BC187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4">
                <a:extLst>
                  <a:ext uri="{FF2B5EF4-FFF2-40B4-BE49-F238E27FC236}">
                    <a16:creationId xmlns:a16="http://schemas.microsoft.com/office/drawing/2014/main" id="{73CC031D-FFF3-4F91-8D5D-48B7E75A90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5">
                <a:extLst>
                  <a:ext uri="{FF2B5EF4-FFF2-40B4-BE49-F238E27FC236}">
                    <a16:creationId xmlns:a16="http://schemas.microsoft.com/office/drawing/2014/main" id="{1217BB11-16DB-4544-9896-C49AB8596E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6">
                <a:extLst>
                  <a:ext uri="{FF2B5EF4-FFF2-40B4-BE49-F238E27FC236}">
                    <a16:creationId xmlns:a16="http://schemas.microsoft.com/office/drawing/2014/main" id="{3209A86B-D08C-4C73-8A2E-427089B853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ECE4039-9E4C-4ADB-B813-D54B74431BB2}"/>
              </a:ext>
            </a:extLst>
          </p:cNvPr>
          <p:cNvGrpSpPr/>
          <p:nvPr userDrawn="1"/>
        </p:nvGrpSpPr>
        <p:grpSpPr>
          <a:xfrm>
            <a:off x="12595938" y="1"/>
            <a:ext cx="188916" cy="1943100"/>
            <a:chOff x="-495293" y="1129091"/>
            <a:chExt cx="258072" cy="2654411"/>
          </a:xfrm>
        </p:grpSpPr>
        <p:sp>
          <p:nvSpPr>
            <p:cNvPr id="31" name="Rectangle 34">
              <a:extLst>
                <a:ext uri="{FF2B5EF4-FFF2-40B4-BE49-F238E27FC236}">
                  <a16:creationId xmlns:a16="http://schemas.microsoft.com/office/drawing/2014/main" id="{2E34CC45-16C0-4360-8616-702D04AB822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495293" y="1129091"/>
              <a:ext cx="258072" cy="258072"/>
            </a:xfrm>
            <a:prstGeom prst="rect">
              <a:avLst/>
            </a:prstGeom>
            <a:solidFill>
              <a:srgbClr val="FCBC67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wrap="none" lIns="83640" tIns="41820" rIns="83640" bIns="41820" anchor="ctr"/>
            <a:lstStyle/>
            <a:p>
              <a:pPr defTabSz="914377">
                <a:defRPr/>
              </a:pPr>
              <a:endParaRPr lang="en-US" sz="1200" kern="0">
                <a:solidFill>
                  <a:srgbClr val="4C4037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" name="Rectangle 34">
              <a:extLst>
                <a:ext uri="{FF2B5EF4-FFF2-40B4-BE49-F238E27FC236}">
                  <a16:creationId xmlns:a16="http://schemas.microsoft.com/office/drawing/2014/main" id="{DBBB596A-04B4-40BC-AF30-C4FFC8E95EE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495293" y="2726651"/>
              <a:ext cx="258072" cy="258072"/>
            </a:xfrm>
            <a:prstGeom prst="rect">
              <a:avLst/>
            </a:prstGeom>
            <a:solidFill>
              <a:srgbClr val="7CC199"/>
            </a:solidFill>
            <a:ln w="3175">
              <a:noFill/>
              <a:miter lim="800000"/>
              <a:headEnd/>
              <a:tailEnd/>
            </a:ln>
            <a:effectLst/>
          </p:spPr>
          <p:txBody>
            <a:bodyPr wrap="none" lIns="83640" tIns="41820" rIns="83640" bIns="41820" anchor="ctr"/>
            <a:lstStyle/>
            <a:p>
              <a:pPr defTabSz="914377">
                <a:defRPr/>
              </a:pPr>
              <a:endParaRPr lang="en-US" sz="1200" kern="0">
                <a:solidFill>
                  <a:srgbClr val="4C4037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" name="Rectangle 34">
              <a:extLst>
                <a:ext uri="{FF2B5EF4-FFF2-40B4-BE49-F238E27FC236}">
                  <a16:creationId xmlns:a16="http://schemas.microsoft.com/office/drawing/2014/main" id="{00ED36E0-AD1E-4ED0-A620-3D4D77C4009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495293" y="3126041"/>
              <a:ext cx="258072" cy="258072"/>
            </a:xfrm>
            <a:prstGeom prst="rect">
              <a:avLst/>
            </a:prstGeom>
            <a:solidFill>
              <a:srgbClr val="077144"/>
            </a:solidFill>
            <a:ln w="3175">
              <a:noFill/>
              <a:miter lim="800000"/>
              <a:headEnd/>
              <a:tailEnd/>
            </a:ln>
            <a:effectLst/>
          </p:spPr>
          <p:txBody>
            <a:bodyPr wrap="none" lIns="83640" tIns="41820" rIns="83640" bIns="41820" anchor="ctr"/>
            <a:lstStyle/>
            <a:p>
              <a:pPr defTabSz="914377">
                <a:defRPr/>
              </a:pPr>
              <a:endParaRPr lang="en-US" sz="1200" kern="0">
                <a:solidFill>
                  <a:srgbClr val="4C4037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4" name="Rectangle 34">
              <a:extLst>
                <a:ext uri="{FF2B5EF4-FFF2-40B4-BE49-F238E27FC236}">
                  <a16:creationId xmlns:a16="http://schemas.microsoft.com/office/drawing/2014/main" id="{4CF44099-12BD-4770-B329-B238B536340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495293" y="3525430"/>
              <a:ext cx="258072" cy="258072"/>
            </a:xfrm>
            <a:prstGeom prst="rect">
              <a:avLst/>
            </a:prstGeom>
            <a:solidFill>
              <a:srgbClr val="054D2E"/>
            </a:solidFill>
            <a:ln w="3175">
              <a:noFill/>
              <a:miter lim="800000"/>
              <a:headEnd/>
              <a:tailEnd/>
            </a:ln>
            <a:effectLst/>
          </p:spPr>
          <p:txBody>
            <a:bodyPr wrap="none" lIns="83640" tIns="41820" rIns="83640" bIns="41820" anchor="ctr"/>
            <a:lstStyle/>
            <a:p>
              <a:pPr defTabSz="914377">
                <a:defRPr/>
              </a:pPr>
              <a:endParaRPr lang="en-US" sz="1200" kern="0">
                <a:solidFill>
                  <a:srgbClr val="4C4037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BF083BC5-FA0D-47B2-85F2-95B7D9AEB7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495293" y="1927871"/>
              <a:ext cx="258072" cy="258072"/>
            </a:xfrm>
            <a:prstGeom prst="rect">
              <a:avLst/>
            </a:prstGeom>
            <a:solidFill>
              <a:srgbClr val="E6E6E6"/>
            </a:solidFill>
            <a:ln w="31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83640" tIns="41820" rIns="83640" bIns="41820" anchor="ctr"/>
            <a:lstStyle/>
            <a:p>
              <a:pPr defTabSz="914377">
                <a:defRPr/>
              </a:pPr>
              <a:endParaRPr lang="en-US" sz="1200" kern="0">
                <a:solidFill>
                  <a:srgbClr val="4C4037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" name="Rectangle 34">
              <a:extLst>
                <a:ext uri="{FF2B5EF4-FFF2-40B4-BE49-F238E27FC236}">
                  <a16:creationId xmlns:a16="http://schemas.microsoft.com/office/drawing/2014/main" id="{53F87B07-AED9-401E-8019-4BCE09DCB5E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495293" y="2327261"/>
              <a:ext cx="258072" cy="258072"/>
            </a:xfrm>
            <a:prstGeom prst="rect">
              <a:avLst/>
            </a:prstGeom>
            <a:solidFill>
              <a:srgbClr val="B1B1B1"/>
            </a:solidFill>
            <a:ln w="3175">
              <a:noFill/>
              <a:miter lim="800000"/>
              <a:headEnd/>
              <a:tailEnd/>
            </a:ln>
            <a:effectLst/>
          </p:spPr>
          <p:txBody>
            <a:bodyPr wrap="none" lIns="83640" tIns="41820" rIns="83640" bIns="41820" anchor="ctr"/>
            <a:lstStyle/>
            <a:p>
              <a:pPr defTabSz="914377">
                <a:defRPr/>
              </a:pPr>
              <a:endParaRPr lang="en-US" sz="1200" kern="0">
                <a:solidFill>
                  <a:srgbClr val="4C4037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" name="Rectangle 34">
              <a:extLst>
                <a:ext uri="{FF2B5EF4-FFF2-40B4-BE49-F238E27FC236}">
                  <a16:creationId xmlns:a16="http://schemas.microsoft.com/office/drawing/2014/main" id="{62D60DB7-58CE-4FE9-A853-9DEA67E247F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495293" y="1528481"/>
              <a:ext cx="258072" cy="258072"/>
            </a:xfrm>
            <a:prstGeom prst="rect">
              <a:avLst/>
            </a:prstGeom>
            <a:solidFill>
              <a:srgbClr val="4C4037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wrap="none" lIns="83640" tIns="41820" rIns="83640" bIns="41820" anchor="ctr"/>
            <a:lstStyle/>
            <a:p>
              <a:pPr defTabSz="914377">
                <a:defRPr/>
              </a:pPr>
              <a:endParaRPr lang="en-US" sz="1200" kern="0">
                <a:solidFill>
                  <a:srgbClr val="4C4037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3910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 - Subtitle">
  <p:cSld name="Three Content - Subtitle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1"/>
          <p:cNvSpPr txBox="1">
            <a:spLocks noGrp="1"/>
          </p:cNvSpPr>
          <p:nvPr>
            <p:ph type="title"/>
          </p:nvPr>
        </p:nvSpPr>
        <p:spPr>
          <a:xfrm>
            <a:off x="442913" y="430514"/>
            <a:ext cx="11306175" cy="502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de-DE"/>
          </a:p>
        </p:txBody>
      </p:sp>
      <p:sp>
        <p:nvSpPr>
          <p:cNvPr id="136" name="Google Shape;136;p21"/>
          <p:cNvSpPr txBox="1">
            <a:spLocks noGrp="1"/>
          </p:cNvSpPr>
          <p:nvPr>
            <p:ph type="subTitle" idx="1"/>
          </p:nvPr>
        </p:nvSpPr>
        <p:spPr>
          <a:xfrm>
            <a:off x="442912" y="933433"/>
            <a:ext cx="11306176" cy="8858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0">
                <a:solidFill>
                  <a:schemeClr val="dk1"/>
                </a:solidFill>
              </a:defRPr>
            </a:lvl1pPr>
            <a:lvl2pPr lvl="1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2pPr>
            <a:lvl3pPr lvl="2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3pPr>
            <a:lvl4pPr lvl="3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4pPr>
            <a:lvl5pPr lvl="4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5pPr>
            <a:lvl6pPr lvl="5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6pPr>
            <a:lvl7pPr lvl="6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7pPr>
            <a:lvl8pPr lvl="7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8pPr>
            <a:lvl9pPr lvl="8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9pPr>
          </a:lstStyle>
          <a:p>
            <a:endParaRPr lang="de-DE"/>
          </a:p>
        </p:txBody>
      </p:sp>
      <p:sp>
        <p:nvSpPr>
          <p:cNvPr id="137" name="Google Shape;137;p21"/>
          <p:cNvSpPr txBox="1">
            <a:spLocks noGrp="1"/>
          </p:cNvSpPr>
          <p:nvPr>
            <p:ph type="body" idx="2"/>
          </p:nvPr>
        </p:nvSpPr>
        <p:spPr>
          <a:xfrm>
            <a:off x="442913" y="2103439"/>
            <a:ext cx="3529012" cy="4068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endParaRPr lang="de-DE"/>
          </a:p>
        </p:txBody>
      </p:sp>
      <p:sp>
        <p:nvSpPr>
          <p:cNvPr id="138" name="Google Shape;138;p21"/>
          <p:cNvSpPr txBox="1">
            <a:spLocks noGrp="1"/>
          </p:cNvSpPr>
          <p:nvPr>
            <p:ph type="body" idx="3"/>
          </p:nvPr>
        </p:nvSpPr>
        <p:spPr>
          <a:xfrm>
            <a:off x="4332288" y="2103439"/>
            <a:ext cx="3529012" cy="4068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de-DE"/>
          </a:p>
        </p:txBody>
      </p:sp>
      <p:sp>
        <p:nvSpPr>
          <p:cNvPr id="139" name="Google Shape;139;p21"/>
          <p:cNvSpPr txBox="1">
            <a:spLocks noGrp="1"/>
          </p:cNvSpPr>
          <p:nvPr>
            <p:ph type="body" idx="4"/>
          </p:nvPr>
        </p:nvSpPr>
        <p:spPr>
          <a:xfrm>
            <a:off x="8220076" y="2103439"/>
            <a:ext cx="3529012" cy="4068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C697FB-352C-4084-AF6B-F320366B58E6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fld id="{AC7E8DD0-63D6-45BB-8FCC-F728B79263A0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A3DEE5-D6AD-4DA2-A8DF-BFE5A9EB4604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957641-D5C0-42EB-9A14-554348802988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75D95D9B-055A-444F-AA79-0A23645C88B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61163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- Subtitle">
  <p:cSld name="Two Content - Subtitle"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17"/>
          <p:cNvSpPr txBox="1">
            <a:spLocks noGrp="1"/>
          </p:cNvSpPr>
          <p:nvPr>
            <p:ph type="title"/>
          </p:nvPr>
        </p:nvSpPr>
        <p:spPr>
          <a:xfrm>
            <a:off x="442913" y="430514"/>
            <a:ext cx="11306175" cy="502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de-DE"/>
          </a:p>
        </p:txBody>
      </p:sp>
      <p:sp>
        <p:nvSpPr>
          <p:cNvPr id="101" name="Google Shape;101;p17"/>
          <p:cNvSpPr txBox="1">
            <a:spLocks noGrp="1"/>
          </p:cNvSpPr>
          <p:nvPr>
            <p:ph type="subTitle" idx="1"/>
          </p:nvPr>
        </p:nvSpPr>
        <p:spPr>
          <a:xfrm>
            <a:off x="442912" y="933433"/>
            <a:ext cx="11306176" cy="8858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0">
                <a:solidFill>
                  <a:schemeClr val="dk1"/>
                </a:solidFill>
              </a:defRPr>
            </a:lvl1pPr>
            <a:lvl2pPr lvl="1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2pPr>
            <a:lvl3pPr lvl="2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3pPr>
            <a:lvl4pPr lvl="3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4pPr>
            <a:lvl5pPr lvl="4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5pPr>
            <a:lvl6pPr lvl="5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6pPr>
            <a:lvl7pPr lvl="6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7pPr>
            <a:lvl8pPr lvl="7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8pPr>
            <a:lvl9pPr lvl="8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9pPr>
          </a:lstStyle>
          <a:p>
            <a:endParaRPr lang="de-DE"/>
          </a:p>
        </p:txBody>
      </p:sp>
      <p:sp>
        <p:nvSpPr>
          <p:cNvPr id="102" name="Google Shape;102;p17"/>
          <p:cNvSpPr txBox="1">
            <a:spLocks noGrp="1"/>
          </p:cNvSpPr>
          <p:nvPr>
            <p:ph type="body" idx="2"/>
          </p:nvPr>
        </p:nvSpPr>
        <p:spPr>
          <a:xfrm>
            <a:off x="442913" y="2103438"/>
            <a:ext cx="5473700" cy="40687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de-DE"/>
          </a:p>
        </p:txBody>
      </p:sp>
      <p:sp>
        <p:nvSpPr>
          <p:cNvPr id="103" name="Google Shape;103;p17"/>
          <p:cNvSpPr txBox="1">
            <a:spLocks noGrp="1"/>
          </p:cNvSpPr>
          <p:nvPr>
            <p:ph type="body" idx="3"/>
          </p:nvPr>
        </p:nvSpPr>
        <p:spPr>
          <a:xfrm>
            <a:off x="6275388" y="2103437"/>
            <a:ext cx="5473699" cy="40687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2CFDFF5-5F36-4406-BDD6-847F9A11394D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fld id="{3C1E322E-7D71-48FE-8271-8F78DF8B9BE4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C57890-8A84-43CD-9A2F-4D6EF4AD8B97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035142-33D6-4DC2-923F-001F0B5DC8A4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8DFA7F7C-6141-4093-A4E8-63FB724871F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55709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 userDrawn="1"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 userDrawn="1"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250A3D9B-A0CD-4BCD-9305-EB09703580BE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0533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D7D26542-3275-4589-ABF7-162DF2EE0D31}" type="datetime1">
              <a:rPr lang="de-DE" smtClean="0"/>
              <a:t>2022-05-13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 userDrawn="1"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BD18794-6309-4515-A3AA-50612C151115}"/>
              </a:ext>
            </a:extLst>
          </p:cNvPr>
          <p:cNvGrpSpPr/>
          <p:nvPr userDrawn="1"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9CE6EB1D-F871-4BDD-91E0-753690FD8A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9C1C956C-6DA9-47D9-A45E-D0AC629242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E291F193-6B83-4905-8D40-2F4E12A6A556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2C698A07-CF4F-4B4E-B463-6AF11CA9E1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9B1E9AF-EE7D-4C68-B0D5-83050E8DC0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FB4DF82A-755E-4194-AA61-EE185EF95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A21AA307-0C44-4C53-8FD6-C9B341DEEA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C065EBA0-82F0-471A-BDDE-95E37B6DDC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78081B6A-C4DB-4326-ACB1-473B3725B0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9EC739A3-31D7-4690-835F-B5FF4CAC1D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AF2382B-346A-4114-BA29-F4F3181C42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F5EC112F-DE14-4263-AA9E-A1F5D1CBA1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5C5DA915-BB91-4829-8996-AFF2A18002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30554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 userDrawn="1"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E2FCA10D-E57F-499A-B3A8-C37E9837D2B9}" type="datetime1">
              <a:rPr lang="de-DE" smtClean="0"/>
              <a:t>2022-05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772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08794240-753E-4FD9-BD0A-C29665BF87F4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43AA36A9-77D1-44BE-BA4D-47000688CC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21553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BD5292E-ABCC-411A-B03A-38C6B1E94E0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EEBE5B7F-153E-442F-A885-FBAF7461E636}" type="datetime1">
              <a:rPr lang="de-DE" smtClean="0"/>
              <a:t>2022-05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675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 userDrawn="1"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41E039E1-1437-4D39-B9E7-2F90BC6E4631}" type="datetime1">
              <a:rPr lang="de-DE" smtClean="0"/>
              <a:t>2022-05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8D9B16BE-0EE2-4EA3-BDC6-E0867C9B8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0C9746DD-0481-4D9E-B78D-3F412C9E24AC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8979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4272F937-4B5A-4820-8584-7A26CA02DFD0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2970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 Voll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CD0B1B3B-3E74-4BEE-A206-EDA30D7D22C3}" type="datetime1">
              <a:rPr lang="de-DE" smtClean="0"/>
              <a:t>2022-05-1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4582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 userDrawn="1"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3A96A731-7C1A-493B-9FC1-26490EC06073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27A00C33-587D-4D8E-AF75-8F6919383E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82519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91944AE1-71C3-4045-BB80-359B5FD0E79A}" type="datetime1">
              <a:rPr lang="de-DE" smtClean="0"/>
              <a:t>2022-05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8506E623-81AF-4305-B98E-DF4C35EBBD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63224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1749B572-38B2-44E7-993C-E41FCBBB013E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A283F8AB-A46A-4870-8362-DF12D7EC4B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727138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FC7FCB6-74E7-450B-846C-F7BF742CC2F8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9783F2F5-2C34-4E75-8D38-8A94BCBFDD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971932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331F4AF-FE7E-4D82-9ACC-D760298FA7F0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79AF8DAB-B5CB-408F-A6E8-493F2E1DB3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944570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0D7A55B1-E4C3-49E8-AB1A-37B7D18857DA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C0ED0037-8855-4204-8BDE-DF1CD6E8F5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582000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Handy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41AA333-6242-49CC-91D3-07336551BCBD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B8434D50-54AF-4F54-BAC8-BDA813C7A8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593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7CD0E31-79B7-4BEF-9DCE-891716D6D151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963B6C51-6928-4ECE-8246-BA1DFEDCE3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591352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0D4B08EA-D0B9-4361-A44D-F06D16BD482C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B796C412-2391-4B89-B883-7C0977F0D2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110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9817B505-4B55-464A-865B-A7066700ECC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4B53068-5E82-4BE2-A298-E5414F634BE4}" type="datetime1">
              <a:rPr lang="de-DE" smtClean="0"/>
              <a:t>2022-05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8D0648D1-40D0-4A4A-BC6E-D382A68555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79848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0FAB4B42-2F8C-4936-B1A5-8E674713FEB0}" type="datetime1">
              <a:rPr lang="de-DE" smtClean="0"/>
              <a:t>2022-05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5EE68F0F-C19E-45E9-BD75-8FC500F393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10664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Handy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088F803-F1C4-4596-A9D5-8C03BAD0BD6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964A725-2443-46CC-B90F-94F69F88AE3F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C2F7910A-96CA-49EB-846D-FA2052474D4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55298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iPad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6C9BFDF4-9DAA-4839-BAFD-71747B65C9FB}"/>
              </a:ext>
            </a:extLst>
          </p:cNvPr>
          <p:cNvSpPr/>
          <p:nvPr userDrawn="1"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ED4F085-F127-48F4-8530-3F5BB78ECC43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665EE4D5-3BFA-4C08-8055-C04D2D810C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66465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876F057E-2AF1-414D-BDD2-290B0E24D7F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3277150-530B-4096-BA14-5D9F38554C2F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5FBF59BD-5DD6-4DA1-900C-AEC3A989F32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44441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E36D3523-3FFF-4079-A2E0-61749DED44EE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049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049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3198"/>
            <a:ext cx="3821114" cy="10106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3198"/>
            <a:ext cx="3821114" cy="10106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89A331EA-7D73-4998-B51B-E0F5FC09B79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916251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4EA34409-DCBC-40F3-851F-E6D15B05A374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6C40560B-4DF7-47DA-B46D-1B33BF4D83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711217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92915B18-75C3-4EC4-9743-AF5C43B77084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BF72182D-61F9-4E9C-A5AA-70D1FD5357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6F7E146A-7186-40F8-90F9-B27910E6DC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6DDD03A3-F076-4625-90D6-85CA7A684D4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487AB407-DDAC-4C1D-94AA-1B9B6313DA7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0B847C45-9A30-4FA9-9AB8-F02BECA3C9E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</p:spTree>
    <p:extLst>
      <p:ext uri="{BB962C8B-B14F-4D97-AF65-F5344CB8AC3E}">
        <p14:creationId xmlns:p14="http://schemas.microsoft.com/office/powerpoint/2010/main" val="3423674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2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E1FF5D3E-3926-4F81-8BAA-24BCAA487D97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802240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802240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E7B4D499-D0D5-4F6E-B6DA-418C7C0AD63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58786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Inhalt Farbfläch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FCBFC725-A8E0-4F8E-90F3-D77EBB388453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C9F0ACC9-CEAA-4EA6-A118-DD136891EB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01CA58C5-73BF-4F50-8E4E-C62D87E488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48" name="Textplatzhalter 16">
            <a:extLst>
              <a:ext uri="{FF2B5EF4-FFF2-40B4-BE49-F238E27FC236}">
                <a16:creationId xmlns:a16="http://schemas.microsoft.com/office/drawing/2014/main" id="{A266F4AF-8576-4B5E-90FF-3B35B39E278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7DD15A8F-8B27-4F47-8BEB-85B05075D10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5" name="Textplatzhalter 8">
            <a:extLst>
              <a:ext uri="{FF2B5EF4-FFF2-40B4-BE49-F238E27FC236}">
                <a16:creationId xmlns:a16="http://schemas.microsoft.com/office/drawing/2014/main" id="{BF96D391-12B8-4DC2-8BA7-EE3B41ABA82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6" name="Textplatzhalter 8">
            <a:extLst>
              <a:ext uri="{FF2B5EF4-FFF2-40B4-BE49-F238E27FC236}">
                <a16:creationId xmlns:a16="http://schemas.microsoft.com/office/drawing/2014/main" id="{D4C580B9-825B-4196-9F6C-FFF6081A79D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7" name="Textplatzhalter 16">
            <a:extLst>
              <a:ext uri="{FF2B5EF4-FFF2-40B4-BE49-F238E27FC236}">
                <a16:creationId xmlns:a16="http://schemas.microsoft.com/office/drawing/2014/main" id="{2C922E9A-0902-45D7-BBA0-8857792BAE2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0582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 Inhalt Farbfläch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DCAD51E2-9E07-4542-B65F-04568B2229EB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A4705E78-26BC-4F2A-A827-B7E21E2BA2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369B5A36-CCDA-4E7B-BB17-5917AFA842B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19357C29-2039-4728-BA3D-A07C2E0A6D9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A6FAC1FA-9F5A-4BE9-B968-50004B1C239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B98E5858-6EB0-4A6D-8F0B-9DC62A66829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F2C74E83-AABB-47C0-A384-793156F2C91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45549B26-C19C-4F93-9FAD-0B0F85A013A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49F3113B-5396-4A86-B434-189BEF0BBFE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7F5B0F8E-080F-4B1F-95A4-234F68E550C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8230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40601C92-0FB4-4F18-B951-EB6F465457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A8394AE5-C4D7-4BA4-B77C-17EBB5CFDBA9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CC30C46E-93BB-456B-A582-0CC839E3DEC6}"/>
              </a:ext>
            </a:extLst>
          </p:cNvPr>
          <p:cNvGrpSpPr/>
          <p:nvPr userDrawn="1"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26390C3B-B0B4-4EFE-9B46-FE8B885C49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50845654-756B-49A0-9B7E-490F7D9AD2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C5DDB20E-D4CF-45EC-8615-7530003E79BB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42679654-DC6C-46EC-93D8-41C51D8101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4F94D85A-AADF-4641-8240-09D8F219B1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3D20015B-C361-4C48-9B4D-E22C8B4269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5402477D-7C04-48FC-BB94-6B02286C7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AE5C8FA0-2B86-45D3-AB7C-5FF5872085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E0F3A930-2827-4306-A510-A90ED15C4A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95C94C5C-79C5-4030-B294-B47BF68610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10522F29-A710-4E4B-A86E-73768F11BD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11732295-C403-40B4-A6AA-AE2AC35557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199BAE08-20AA-458D-BD80-6223055889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Untertitel 2">
            <a:extLst>
              <a:ext uri="{FF2B5EF4-FFF2-40B4-BE49-F238E27FC236}">
                <a16:creationId xmlns:a16="http://schemas.microsoft.com/office/drawing/2014/main" id="{EF789A5E-C5ED-4B00-91BD-5B486EFCF5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BF9E35EE-32AE-4A57-8CEF-690AF84188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5FAF8883-2A94-41FA-A478-4B2BD8A36348}" type="datetime1">
              <a:rPr lang="de-DE" smtClean="0"/>
              <a:t>2022-05-13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A7F976A1-03EA-4935-874D-7F9EF6D57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47" name="Foliennummernplatzhalter 5">
            <a:extLst>
              <a:ext uri="{FF2B5EF4-FFF2-40B4-BE49-F238E27FC236}">
                <a16:creationId xmlns:a16="http://schemas.microsoft.com/office/drawing/2014/main" id="{F6AA3DB3-A17B-46ED-A5E1-74092F67E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A7E0B9BD-E961-4821-9BA8-41836ABB95C4}"/>
              </a:ext>
            </a:extLst>
          </p:cNvPr>
          <p:cNvSpPr txBox="1">
            <a:spLocks/>
          </p:cNvSpPr>
          <p:nvPr userDrawn="1"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540F5CBA-0E28-443D-A0AD-E0BC0E45965C}"/>
              </a:ext>
            </a:extLst>
          </p:cNvPr>
          <p:cNvSpPr txBox="1">
            <a:spLocks/>
          </p:cNvSpPr>
          <p:nvPr userDrawn="1"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252180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400A9630-E268-4D88-8763-BC14F4231B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3FAC17A4-5C8B-43CE-B618-171D4C8F52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5AEA2E3C-9E3F-45EA-A8BA-FF5DAC7AC446}"/>
              </a:ext>
            </a:extLst>
          </p:cNvPr>
          <p:cNvGrpSpPr/>
          <p:nvPr userDrawn="1"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53" name="Oval 5">
              <a:extLst>
                <a:ext uri="{FF2B5EF4-FFF2-40B4-BE49-F238E27FC236}">
                  <a16:creationId xmlns:a16="http://schemas.microsoft.com/office/drawing/2014/main" id="{57DC0B9F-01EC-49A3-9E86-1DB9E4ED98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9B9FEFDC-416A-4ABB-9F7A-236D0CEEC4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963F1CB9-400C-4869-B592-6A147EACD152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56" name="Freeform 7">
                <a:extLst>
                  <a:ext uri="{FF2B5EF4-FFF2-40B4-BE49-F238E27FC236}">
                    <a16:creationId xmlns:a16="http://schemas.microsoft.com/office/drawing/2014/main" id="{E52A645E-6190-4BAD-991C-39894C93AC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7" name="Freeform 8">
                <a:extLst>
                  <a:ext uri="{FF2B5EF4-FFF2-40B4-BE49-F238E27FC236}">
                    <a16:creationId xmlns:a16="http://schemas.microsoft.com/office/drawing/2014/main" id="{4F9843DB-16F0-46AC-A1EF-3338C337D0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8" name="Freeform 9">
                <a:extLst>
                  <a:ext uri="{FF2B5EF4-FFF2-40B4-BE49-F238E27FC236}">
                    <a16:creationId xmlns:a16="http://schemas.microsoft.com/office/drawing/2014/main" id="{9926870A-6628-41FC-B399-DAB7083B8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10">
                <a:extLst>
                  <a:ext uri="{FF2B5EF4-FFF2-40B4-BE49-F238E27FC236}">
                    <a16:creationId xmlns:a16="http://schemas.microsoft.com/office/drawing/2014/main" id="{DCF3258F-E6B5-400F-9F23-7C69876903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11">
                <a:extLst>
                  <a:ext uri="{FF2B5EF4-FFF2-40B4-BE49-F238E27FC236}">
                    <a16:creationId xmlns:a16="http://schemas.microsoft.com/office/drawing/2014/main" id="{87DC1906-3B94-4188-B7CC-F97C41995D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2">
                <a:extLst>
                  <a:ext uri="{FF2B5EF4-FFF2-40B4-BE49-F238E27FC236}">
                    <a16:creationId xmlns:a16="http://schemas.microsoft.com/office/drawing/2014/main" id="{1A9B9CBB-91B6-46EB-972C-9D9E0F3BD7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3">
                <a:extLst>
                  <a:ext uri="{FF2B5EF4-FFF2-40B4-BE49-F238E27FC236}">
                    <a16:creationId xmlns:a16="http://schemas.microsoft.com/office/drawing/2014/main" id="{201A6006-9AD5-4854-9CDD-1EA06BD9D0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4">
                <a:extLst>
                  <a:ext uri="{FF2B5EF4-FFF2-40B4-BE49-F238E27FC236}">
                    <a16:creationId xmlns:a16="http://schemas.microsoft.com/office/drawing/2014/main" id="{8B8BFF41-5284-4CDC-B416-992EAF814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5">
                <a:extLst>
                  <a:ext uri="{FF2B5EF4-FFF2-40B4-BE49-F238E27FC236}">
                    <a16:creationId xmlns:a16="http://schemas.microsoft.com/office/drawing/2014/main" id="{93213C91-9028-44F2-A3C8-673E10370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6">
                <a:extLst>
                  <a:ext uri="{FF2B5EF4-FFF2-40B4-BE49-F238E27FC236}">
                    <a16:creationId xmlns:a16="http://schemas.microsoft.com/office/drawing/2014/main" id="{D6AA74E2-BF29-4264-814F-3AA3AC6151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6" name="Datumsplatzhalter 2">
            <a:extLst>
              <a:ext uri="{FF2B5EF4-FFF2-40B4-BE49-F238E27FC236}">
                <a16:creationId xmlns:a16="http://schemas.microsoft.com/office/drawing/2014/main" id="{9B508590-A8E9-4FF5-9317-1BD56248057F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8EA31CC4-5DE2-4F86-A6CF-807CE2BEF498}" type="datetime1">
              <a:rPr lang="de-DE" smtClean="0"/>
              <a:t>2022-05-13</a:t>
            </a:fld>
            <a:endParaRPr lang="de-DE"/>
          </a:p>
        </p:txBody>
      </p:sp>
      <p:sp>
        <p:nvSpPr>
          <p:cNvPr id="67" name="Fußzeilenplatzhalter 3">
            <a:extLst>
              <a:ext uri="{FF2B5EF4-FFF2-40B4-BE49-F238E27FC236}">
                <a16:creationId xmlns:a16="http://schemas.microsoft.com/office/drawing/2014/main" id="{8EFE864B-0C11-44A8-BFA4-30C0F402A0C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68" name="Foliennummernplatzhalter 4">
            <a:extLst>
              <a:ext uri="{FF2B5EF4-FFF2-40B4-BE49-F238E27FC236}">
                <a16:creationId xmlns:a16="http://schemas.microsoft.com/office/drawing/2014/main" id="{9C2243B2-6D57-4F86-9939-1E7853DAA9F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9" name="Untertitel 2">
            <a:extLst>
              <a:ext uri="{FF2B5EF4-FFF2-40B4-BE49-F238E27FC236}">
                <a16:creationId xmlns:a16="http://schemas.microsoft.com/office/drawing/2014/main" id="{FEEA8252-684F-48D9-B9AD-36775964B3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167387E4-5F60-4A68-B79D-6E8B2AFB4779}"/>
              </a:ext>
            </a:extLst>
          </p:cNvPr>
          <p:cNvSpPr txBox="1">
            <a:spLocks/>
          </p:cNvSpPr>
          <p:nvPr userDrawn="1"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5C0DDD55-B655-4207-8868-68E3C13220A8}"/>
              </a:ext>
            </a:extLst>
          </p:cNvPr>
          <p:cNvSpPr txBox="1">
            <a:spLocks/>
          </p:cNvSpPr>
          <p:nvPr userDrawn="1"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18725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CA4816FF-8B24-42EC-B742-59838EEDDA68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96867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s_LichtBli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 userDrawn="1"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AF52861D-87AD-4F27-9F83-310518529ACE}" type="datetime1">
              <a:rPr lang="de-DE" smtClean="0"/>
              <a:t>2022-05-13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Gas positions</a:t>
            </a:r>
            <a:endParaRPr lang="de-DE"/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637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6C6BBE88-692B-4711-BD80-8667B14CF6F6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0115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Voll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119CD3C5-A2A2-472F-A938-E9665339778F}" type="datetime1">
              <a:rPr lang="de-DE" smtClean="0"/>
              <a:t>2022-05-13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1021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31A9E3A-A105-41D4-858E-D81C293ADFFA}" type="datetime1">
              <a:rPr lang="de-DE" smtClean="0"/>
              <a:t>2022-05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1833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folie Voll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3988F174-6036-41F7-9040-E94FB9C3CEC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AFB47A60-4769-4291-AE01-F939864F4377}" type="datetime1">
              <a:rPr lang="de-DE" smtClean="0"/>
              <a:t>2022-05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0158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Pad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96FB6659-AE4F-433E-99EC-86EB70F7EF7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3A0CE5C-9BFD-4728-9B00-04CBE4CB45E7}" type="datetime1">
              <a:rPr lang="de-DE" smtClean="0"/>
              <a:t>2022-05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CD53685C-AA02-4122-8DC6-DB6D6F9B92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402478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4D2B8A16-DE1E-41DD-94EA-D279DD14B299}" type="datetime1">
              <a:rPr lang="de-DE" smtClean="0"/>
              <a:t>2022-05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BC69060B-162B-4C5C-A91D-870BEA45C8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0BF02A1A-5FD3-421F-9323-46435A7BCD7F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9280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 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E8616099-999A-4987-9C8C-706457FAE7E4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0903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folie Vollbild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78F89851-5F33-4D89-84C0-525DF836CBAA}" type="datetime1">
              <a:rPr lang="de-DE" smtClean="0"/>
              <a:t>2022-05-1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7038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824B22F2-4CA8-4D6F-A1C0-EA80845E57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98A70C6-64BA-411C-9CD4-59F241BE08BF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2483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foli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F5AD215C-4992-409A-B99E-AB7158C0C28C}" type="datetime1">
              <a:rPr lang="de-DE" smtClean="0"/>
              <a:t>2022-05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DFAD810F-0319-4C39-9937-B53CE8D33B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854810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150A6481-D5A3-4BCA-9A9D-DF442F138B48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9EA20353-4C62-4489-B87D-45A1DB0B31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72892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M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C7AD540-EDF4-458B-BFCB-36BAA6680D21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9679123A-B18B-4E56-B697-D2F3428DE7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415918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ild 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1FCF24B8-7E41-447D-BE97-7EED9FC77E89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CE47D79E-DE22-4CBC-BC3F-D6E47CD3607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816735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2364A226-F7BD-4F22-9869-23FA56FFE328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43AA36A9-77D1-44BE-BA4D-47000688CC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932420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Handy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FF02114-4AED-4673-9AB5-B164EC280101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B8434D50-54AF-4F54-BAC8-BDA813C7A8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238691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52120E6-AA72-4F67-9EED-EE29EAAB766A}" type="datetime1">
              <a:rPr lang="de-DE" smtClean="0"/>
              <a:t>2022-05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46D6CADC-F0F5-4A2C-9818-A1B8228A4C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998990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2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0ED53E93-F8B1-48DD-82F8-6328824FA1B5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802240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802240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E7B4D499-D0D5-4F6E-B6DA-418C7C0AD63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3520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Pad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96FB6659-AE4F-433E-99EC-86EB70F7EF7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99AA0E9-4867-43BF-A1BA-8E46B8B21C1E}" type="datetime1">
              <a:rPr lang="de-DE" smtClean="0"/>
              <a:t>2022-05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CD53685C-AA02-4122-8DC6-DB6D6F9B92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02195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D8E1D00A-48CA-424A-AC83-A624C1998E96}" type="datetime1">
              <a:rPr lang="de-DE" smtClean="0"/>
              <a:t>2022-05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46D6CADC-F0F5-4A2C-9818-A1B8228A4C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067548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BB16B60-3BAB-46C5-AA60-2E059C5FA924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112E8B6-DE85-46F8-9C6D-85FAB624F8E5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BD5AB9C7-E3A0-4376-9897-AD1BFB8938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913819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5C3D82BE-3381-43FD-8C1F-5F4601CE32DB}"/>
              </a:ext>
            </a:extLst>
          </p:cNvPr>
          <p:cNvSpPr/>
          <p:nvPr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246A0CA-FA78-4307-ABAD-7BB3467EFBF7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357BC088-7F0D-4DFF-AD47-F71E0C0B2E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531190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ck Up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2557854-CFB7-40F5-BE2E-2E3FE32E7336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7E8BCBB-28CA-45D0-A61F-05B7957AFEED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0A61A0E5-CD93-4E9C-8F85-745F3E5C0D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26314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288AF7B3-8EDB-4FD3-B088-E165A285C24F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F56DF26D-3437-4499-97B1-2CC299E31D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888013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7E35C018-A355-49BD-BC0B-1C9BEE7E7DD7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5D423A01-7715-4A1C-80A5-6BF82C7D12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307561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56" name="Bildplatzhalter 55">
            <a:extLst>
              <a:ext uri="{FF2B5EF4-FFF2-40B4-BE49-F238E27FC236}">
                <a16:creationId xmlns:a16="http://schemas.microsoft.com/office/drawing/2014/main" id="{932A7BA9-B4F2-49DF-B582-09CAD34801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3" name="Bildplatzhalter 62">
            <a:extLst>
              <a:ext uri="{FF2B5EF4-FFF2-40B4-BE49-F238E27FC236}">
                <a16:creationId xmlns:a16="http://schemas.microsoft.com/office/drawing/2014/main" id="{581CE1A1-72E0-42D8-8BD1-73E34C8DA5EA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61" name="Bildplatzhalter 60">
            <a:extLst>
              <a:ext uri="{FF2B5EF4-FFF2-40B4-BE49-F238E27FC236}">
                <a16:creationId xmlns:a16="http://schemas.microsoft.com/office/drawing/2014/main" id="{D41B6DFA-DE64-41E3-BFBB-200F332BBB3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62" name="Bildplatzhalter 61">
            <a:extLst>
              <a:ext uri="{FF2B5EF4-FFF2-40B4-BE49-F238E27FC236}">
                <a16:creationId xmlns:a16="http://schemas.microsoft.com/office/drawing/2014/main" id="{744C5B8B-0608-471E-A233-3632C450CF5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4E6B9442-1E9D-461B-9D5E-8DAF6ECCD5EC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F4EB41D9-291D-4B55-B324-F2C567EE9B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650154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5AADF146-805A-46E3-B72B-FA34904A8CD1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69AFB9C-5517-4407-B7FD-EF75A6A7FA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1" name="Textplatzhalter 16">
            <a:extLst>
              <a:ext uri="{FF2B5EF4-FFF2-40B4-BE49-F238E27FC236}">
                <a16:creationId xmlns:a16="http://schemas.microsoft.com/office/drawing/2014/main" id="{30296C02-F395-4295-A8EC-3AEE6D2CBCC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2" name="Textplatzhalter 16">
            <a:extLst>
              <a:ext uri="{FF2B5EF4-FFF2-40B4-BE49-F238E27FC236}">
                <a16:creationId xmlns:a16="http://schemas.microsoft.com/office/drawing/2014/main" id="{91306E28-BA38-46F5-B8BC-88038F6D179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9B9A57EA-FE38-44D6-AE3D-B4F3EC060A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A12A35B3-094B-4742-ABEA-3516D15BAA4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9CC9674C-B951-4329-A121-7E04804815B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67765B34-0AE2-40CA-9A34-4B03C65FFEB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0493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 Handy Mock U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BB16B60-3BAB-46C5-AA60-2E059C5FA924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0CD9963-877C-4B93-89D3-83DC32DF5E1B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BD5AB9C7-E3A0-4376-9897-AD1BFB8938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076463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70E9DFB2-390B-449D-901B-1CB92A7FDF4A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16B6E171-4B7C-469F-B35A-49E7222610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13F65E49-137F-49CC-96C9-677D761EF6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A54F49FB-AE91-4E83-80C5-3CF742AB40C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64FF7AE2-3588-465D-A4E3-EDCD553F9BC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A1F604F1-EB11-400B-ABDD-3099399B4AD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5BC4B0FA-D582-4036-93F1-96814F4971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4B580C67-39E0-4EC8-9F24-8E7864C39E6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E7FBAB3C-EF31-417C-9446-82665CB1E6D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DCC8B642-B619-4D5D-BEE0-CD8E23A77B0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65567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DBA92605-BBDE-4D7C-B39F-1E98C189EE5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B0374E10-3286-47C8-8ED2-2A4F88E7886F}"/>
              </a:ext>
            </a:extLst>
          </p:cNvPr>
          <p:cNvSpPr/>
          <p:nvPr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6" name="Untertitel 2">
            <a:extLst>
              <a:ext uri="{FF2B5EF4-FFF2-40B4-BE49-F238E27FC236}">
                <a16:creationId xmlns:a16="http://schemas.microsoft.com/office/drawing/2014/main" id="{D96F2E30-AD82-4714-8A11-F958AF4B58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A9BCAB-9C87-4D36-B881-012BF99022A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04634ABB-D18D-48D0-8020-8D39447457AF}" type="datetime1">
              <a:rPr lang="de-DE" smtClean="0"/>
              <a:t>2022-05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1069FE-2725-4BCC-BCF7-A78591EA81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EE5DB6-0E07-4B7F-B8B0-939A52CB41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C919270-0373-4724-98EA-4F5244A618BB}"/>
              </a:ext>
            </a:extLst>
          </p:cNvPr>
          <p:cNvSpPr txBox="1">
            <a:spLocks/>
          </p:cNvSpPr>
          <p:nvPr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B08C6D-40F5-4999-BE63-3548B437CFA0}"/>
              </a:ext>
            </a:extLst>
          </p:cNvPr>
          <p:cNvSpPr txBox="1">
            <a:spLocks/>
          </p:cNvSpPr>
          <p:nvPr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2244558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folie 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0142DB26-9077-4456-9A99-1FFF392AF939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02C3296D-204D-4287-9946-F03ED5B09CF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437962F-E714-42F7-B807-3B72669F46F9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1DBB1FC2-342E-4CFD-9CB2-F0230E2C63B9}" type="datetime1">
              <a:rPr lang="de-DE" smtClean="0"/>
              <a:t>2022-05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99922A8-9C1D-4216-90A2-3392B73412B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FBD4C10-6C65-4DD3-B1F1-2C774F7CDFB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78D7C0B7-74BD-41CB-ABE2-0EC389AF3F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86032D8-4031-4467-BE05-2556CF2BD66E}"/>
              </a:ext>
            </a:extLst>
          </p:cNvPr>
          <p:cNvSpPr txBox="1">
            <a:spLocks/>
          </p:cNvSpPr>
          <p:nvPr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1DB7F4A3-B0B9-4C76-8A25-C5E91C59FE24}"/>
              </a:ext>
            </a:extLst>
          </p:cNvPr>
          <p:cNvSpPr txBox="1">
            <a:spLocks/>
          </p:cNvSpPr>
          <p:nvPr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185901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EE194100-5AF7-4D1F-941C-83927F2C5D85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98005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oke_LichtBlic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F6B96168-E93B-4BA4-AA51-EEF2FB40B8A1}" type="datetime1">
              <a:rPr lang="de-DE" smtClean="0"/>
              <a:t>2022-05-13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Gas positions</a:t>
            </a:r>
            <a:endParaRPr lang="de-DE"/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7440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5C3D82BE-3381-43FD-8C1F-5F4601CE32DB}"/>
              </a:ext>
            </a:extLst>
          </p:cNvPr>
          <p:cNvSpPr/>
          <p:nvPr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8057E50-5A64-490E-B034-A9880452BE0E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357BC088-7F0D-4DFF-AD47-F71E0C0B2E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267040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Voll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AFB7873C-287C-4B83-B46B-ABB8B3681D65}" type="datetime1">
              <a:rPr lang="de-DE" smtClean="0"/>
              <a:t>2022-05-13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7315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ck Up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42557854-CFB7-40F5-BE2E-2E3FE32E7336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A4B8B1F7-AD8F-444B-B29E-68738B959132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0A61A0E5-CD93-4E9C-8F85-745F3E5C0D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94720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7D454E45-721B-426F-B030-AFD9B5F62EC9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F56DF26D-3437-4499-97B1-2CC299E31D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10532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199C123A-E8F8-4AA4-B8F5-D37C7A055144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5D423A01-7715-4A1C-80A5-6BF82C7D12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373316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 Inhal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56" name="Bildplatzhalter 55">
            <a:extLst>
              <a:ext uri="{FF2B5EF4-FFF2-40B4-BE49-F238E27FC236}">
                <a16:creationId xmlns:a16="http://schemas.microsoft.com/office/drawing/2014/main" id="{932A7BA9-B4F2-49DF-B582-09CAD34801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3" name="Bildplatzhalter 62">
            <a:extLst>
              <a:ext uri="{FF2B5EF4-FFF2-40B4-BE49-F238E27FC236}">
                <a16:creationId xmlns:a16="http://schemas.microsoft.com/office/drawing/2014/main" id="{581CE1A1-72E0-42D8-8BD1-73E34C8DA5EA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61" name="Bildplatzhalter 60">
            <a:extLst>
              <a:ext uri="{FF2B5EF4-FFF2-40B4-BE49-F238E27FC236}">
                <a16:creationId xmlns:a16="http://schemas.microsoft.com/office/drawing/2014/main" id="{D41B6DFA-DE64-41E3-BFBB-200F332BBB3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62" name="Bildplatzhalter 61">
            <a:extLst>
              <a:ext uri="{FF2B5EF4-FFF2-40B4-BE49-F238E27FC236}">
                <a16:creationId xmlns:a16="http://schemas.microsoft.com/office/drawing/2014/main" id="{744C5B8B-0608-471E-A233-3632C450CF5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3485A7B3-6470-482E-810A-1722D750DEC0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F4EB41D9-291D-4B55-B324-F2C567EE9B3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379515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1EF750C5-BD21-40CB-B4D6-E238D9D438BD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69AFB9C-5517-4407-B7FD-EF75A6A7FA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1" name="Textplatzhalter 16">
            <a:extLst>
              <a:ext uri="{FF2B5EF4-FFF2-40B4-BE49-F238E27FC236}">
                <a16:creationId xmlns:a16="http://schemas.microsoft.com/office/drawing/2014/main" id="{30296C02-F395-4295-A8EC-3AEE6D2CBCC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2" name="Textplatzhalter 16">
            <a:extLst>
              <a:ext uri="{FF2B5EF4-FFF2-40B4-BE49-F238E27FC236}">
                <a16:creationId xmlns:a16="http://schemas.microsoft.com/office/drawing/2014/main" id="{91306E28-BA38-46F5-B8BC-88038F6D179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9B9A57EA-FE38-44D6-AE3D-B4F3EC060A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A12A35B3-094B-4742-ABEA-3516D15BAA4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9CC9674C-B951-4329-A121-7E04804815B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67765B34-0AE2-40CA-9A34-4B03C65FFEB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6713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2F2ECA87-92B9-477D-8641-38F2D09F2402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16B6E171-4B7C-469F-B35A-49E7222610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13F65E49-137F-49CC-96C9-677D761EF6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A54F49FB-AE91-4E83-80C5-3CF742AB40C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64FF7AE2-3588-465D-A4E3-EDCD553F9BC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A1F604F1-EB11-400B-ABDD-3099399B4AD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5BC4B0FA-D582-4036-93F1-96814F4971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4B580C67-39E0-4EC8-9F24-8E7864C39E6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E7FBAB3C-EF31-417C-9446-82665CB1E6D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DCC8B642-B619-4D5D-BEE0-CD8E23A77B0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38996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DBA92605-BBDE-4D7C-B39F-1E98C189EE5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B0374E10-3286-47C8-8ED2-2A4F88E7886F}"/>
              </a:ext>
            </a:extLst>
          </p:cNvPr>
          <p:cNvSpPr/>
          <p:nvPr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6" name="Untertitel 2">
            <a:extLst>
              <a:ext uri="{FF2B5EF4-FFF2-40B4-BE49-F238E27FC236}">
                <a16:creationId xmlns:a16="http://schemas.microsoft.com/office/drawing/2014/main" id="{D96F2E30-AD82-4714-8A11-F958AF4B58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5A9BCAB-9C87-4D36-B881-012BF99022A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33538DB4-9FEF-498E-8956-3E076D151447}" type="datetime1">
              <a:rPr lang="de-DE" smtClean="0"/>
              <a:t>2022-05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1069FE-2725-4BCC-BCF7-A78591EA81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EE5DB6-0E07-4B7F-B8B0-939A52CB41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C919270-0373-4724-98EA-4F5244A618BB}"/>
              </a:ext>
            </a:extLst>
          </p:cNvPr>
          <p:cNvSpPr txBox="1">
            <a:spLocks/>
          </p:cNvSpPr>
          <p:nvPr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B08C6D-40F5-4999-BE63-3548B437CFA0}"/>
              </a:ext>
            </a:extLst>
          </p:cNvPr>
          <p:cNvSpPr txBox="1">
            <a:spLocks/>
          </p:cNvSpPr>
          <p:nvPr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840098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folie 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0142DB26-9077-4456-9A99-1FFF392AF939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02C3296D-204D-4287-9946-F03ED5B09CF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437962F-E714-42F7-B807-3B72669F46F9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D3C05D87-1833-43C6-9F5D-E2AC4EFAD230}" type="datetime1">
              <a:rPr lang="de-DE" smtClean="0"/>
              <a:t>2022-05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99922A8-9C1D-4216-90A2-3392B73412B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FBD4C10-6C65-4DD3-B1F1-2C774F7CDFB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78D7C0B7-74BD-41CB-ABE2-0EC389AF3F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86032D8-4031-4467-BE05-2556CF2BD66E}"/>
              </a:ext>
            </a:extLst>
          </p:cNvPr>
          <p:cNvSpPr txBox="1">
            <a:spLocks/>
          </p:cNvSpPr>
          <p:nvPr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1DB7F4A3-B0B9-4C76-8A25-C5E91C59FE24}"/>
              </a:ext>
            </a:extLst>
          </p:cNvPr>
          <p:cNvSpPr txBox="1">
            <a:spLocks/>
          </p:cNvSpPr>
          <p:nvPr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2129100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E6CAFF19-C910-4973-8F9B-C9BDF211D733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7506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oke_LichtBlic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7351128B-7F62-406F-9470-8C222AD9D7E9}" type="datetime1">
              <a:rPr lang="de-DE" smtClean="0"/>
              <a:t>2022-05-13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Gas positions</a:t>
            </a:r>
            <a:endParaRPr lang="de-DE"/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2658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9FDD901B-0986-487E-939F-5D23D97C797F}" type="datetime1">
              <a:rPr lang="de-DE" smtClean="0"/>
              <a:t>2022-05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6518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A21CC0C-9E8D-4C24-9E7F-C97DA638FC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429703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A21CC0C-9E8D-4C24-9E7F-C97DA638F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5DB71C0-9244-452D-BE44-912C57054A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0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4395E3-F501-4F02-AE5A-4174911F5A96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430798" y="432000"/>
            <a:ext cx="11340000" cy="712588"/>
          </a:xfrm>
        </p:spPr>
        <p:txBody>
          <a:bodyPr lIns="0" tIns="0" anchor="t">
            <a:noAutofit/>
          </a:bodyPr>
          <a:lstStyle>
            <a:lvl1pPr marL="0" indent="0">
              <a:lnSpc>
                <a:spcPts val="2500"/>
              </a:lnSpc>
              <a:defRPr sz="18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926ED3-4CC5-423A-90D3-CFD2CF5182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0798" y="1371858"/>
            <a:ext cx="11340000" cy="4595784"/>
          </a:xfrm>
        </p:spPr>
        <p:txBody>
          <a:bodyPr lIns="0" tIns="0" rIns="0" bIns="0">
            <a:noAutofit/>
          </a:bodyPr>
          <a:lstStyle>
            <a:lvl1pPr marL="180975" indent="-180975">
              <a:defRPr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2pPr>
            <a:lvl3pPr>
              <a:defRPr sz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3pPr>
            <a:lvl4pPr>
              <a:defRPr sz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4pPr>
            <a:lvl5pPr>
              <a:defRPr sz="13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B5530E8-FE76-4139-9FA4-67D16096A57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2114" y="6179999"/>
            <a:ext cx="965757" cy="462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0EE5BDD-1545-41A0-BB6F-FF11EEA034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2002" y="6180420"/>
            <a:ext cx="496128" cy="461963"/>
          </a:xfrm>
        </p:spPr>
        <p:txBody>
          <a:bodyPr lIns="0" tIns="0" rIns="0" bIns="0" anchor="ctr"/>
          <a:lstStyle>
            <a:lvl1pPr algn="l">
              <a:defRPr sz="1200">
                <a:solidFill>
                  <a:srgbClr val="4C4037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76E5E044-5B03-4DD6-8A99-075C9A3071F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4CF50D7A-9577-4EB0-8182-CC5D931170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50509" y="6179580"/>
            <a:ext cx="7809221" cy="462804"/>
          </a:xfrm>
        </p:spPr>
        <p:txBody>
          <a:bodyPr lIns="0" tIns="0" rIns="0" bIns="0" anchor="ctr"/>
          <a:lstStyle>
            <a:lvl1pPr algn="l">
              <a:defRPr sz="9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Gas positions</a:t>
            </a:r>
            <a:endParaRPr lang="en-GB"/>
          </a:p>
        </p:txBody>
      </p:sp>
      <p:grpSp>
        <p:nvGrpSpPr>
          <p:cNvPr id="11" name="Gruppieren 7">
            <a:extLst>
              <a:ext uri="{FF2B5EF4-FFF2-40B4-BE49-F238E27FC236}">
                <a16:creationId xmlns:a16="http://schemas.microsoft.com/office/drawing/2014/main" id="{A02E205F-58FC-429C-839A-AC12ACA05F37}"/>
              </a:ext>
            </a:extLst>
          </p:cNvPr>
          <p:cNvGrpSpPr/>
          <p:nvPr userDrawn="1"/>
        </p:nvGrpSpPr>
        <p:grpSpPr>
          <a:xfrm>
            <a:off x="10453545" y="6240944"/>
            <a:ext cx="1274620" cy="3400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DA81F41F-CED9-43B8-A66A-D70B3B70A8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6211E783-1115-47AA-899C-D26DF0C345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4">
              <a:extLst>
                <a:ext uri="{FF2B5EF4-FFF2-40B4-BE49-F238E27FC236}">
                  <a16:creationId xmlns:a16="http://schemas.microsoft.com/office/drawing/2014/main" id="{4917BD83-79BE-4445-89AE-4EE545720340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A454DE3A-1ECD-4854-973D-AA4D09248A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A20292F1-4125-41C6-A59F-3BD431EBE5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20E93F79-7AD2-458B-B8F8-9EC141BA1D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68147659-87BC-47BE-8484-9637E7F8F5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8A248024-5C69-4349-8C1D-591A831276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2">
                <a:extLst>
                  <a:ext uri="{FF2B5EF4-FFF2-40B4-BE49-F238E27FC236}">
                    <a16:creationId xmlns:a16="http://schemas.microsoft.com/office/drawing/2014/main" id="{5D1B19D5-38FD-4FC5-AE92-A925771FE0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3">
                <a:extLst>
                  <a:ext uri="{FF2B5EF4-FFF2-40B4-BE49-F238E27FC236}">
                    <a16:creationId xmlns:a16="http://schemas.microsoft.com/office/drawing/2014/main" id="{DC82C284-3754-4F0D-B89E-CFF71BC187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4">
                <a:extLst>
                  <a:ext uri="{FF2B5EF4-FFF2-40B4-BE49-F238E27FC236}">
                    <a16:creationId xmlns:a16="http://schemas.microsoft.com/office/drawing/2014/main" id="{73CC031D-FFF3-4F91-8D5D-48B7E75A90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5">
                <a:extLst>
                  <a:ext uri="{FF2B5EF4-FFF2-40B4-BE49-F238E27FC236}">
                    <a16:creationId xmlns:a16="http://schemas.microsoft.com/office/drawing/2014/main" id="{1217BB11-16DB-4544-9896-C49AB8596E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6">
                <a:extLst>
                  <a:ext uri="{FF2B5EF4-FFF2-40B4-BE49-F238E27FC236}">
                    <a16:creationId xmlns:a16="http://schemas.microsoft.com/office/drawing/2014/main" id="{3209A86B-D08C-4C73-8A2E-427089B853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ECE4039-9E4C-4ADB-B813-D54B74431BB2}"/>
              </a:ext>
            </a:extLst>
          </p:cNvPr>
          <p:cNvGrpSpPr/>
          <p:nvPr userDrawn="1"/>
        </p:nvGrpSpPr>
        <p:grpSpPr>
          <a:xfrm>
            <a:off x="12595938" y="1"/>
            <a:ext cx="188916" cy="1943100"/>
            <a:chOff x="-495293" y="1129091"/>
            <a:chExt cx="258072" cy="2654411"/>
          </a:xfrm>
        </p:grpSpPr>
        <p:sp>
          <p:nvSpPr>
            <p:cNvPr id="31" name="Rectangle 34">
              <a:extLst>
                <a:ext uri="{FF2B5EF4-FFF2-40B4-BE49-F238E27FC236}">
                  <a16:creationId xmlns:a16="http://schemas.microsoft.com/office/drawing/2014/main" id="{2E34CC45-16C0-4360-8616-702D04AB822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495293" y="1129091"/>
              <a:ext cx="258072" cy="258072"/>
            </a:xfrm>
            <a:prstGeom prst="rect">
              <a:avLst/>
            </a:prstGeom>
            <a:solidFill>
              <a:srgbClr val="FCBC67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wrap="none" lIns="83640" tIns="41820" rIns="83640" bIns="41820" anchor="ctr"/>
            <a:lstStyle/>
            <a:p>
              <a:pPr defTabSz="914377">
                <a:defRPr/>
              </a:pPr>
              <a:endParaRPr lang="en-US" sz="1200" kern="0">
                <a:solidFill>
                  <a:srgbClr val="4C4037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" name="Rectangle 34">
              <a:extLst>
                <a:ext uri="{FF2B5EF4-FFF2-40B4-BE49-F238E27FC236}">
                  <a16:creationId xmlns:a16="http://schemas.microsoft.com/office/drawing/2014/main" id="{DBBB596A-04B4-40BC-AF30-C4FFC8E95EE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495293" y="2726651"/>
              <a:ext cx="258072" cy="258072"/>
            </a:xfrm>
            <a:prstGeom prst="rect">
              <a:avLst/>
            </a:prstGeom>
            <a:solidFill>
              <a:srgbClr val="7CC199"/>
            </a:solidFill>
            <a:ln w="3175">
              <a:noFill/>
              <a:miter lim="800000"/>
              <a:headEnd/>
              <a:tailEnd/>
            </a:ln>
            <a:effectLst/>
          </p:spPr>
          <p:txBody>
            <a:bodyPr wrap="none" lIns="83640" tIns="41820" rIns="83640" bIns="41820" anchor="ctr"/>
            <a:lstStyle/>
            <a:p>
              <a:pPr defTabSz="914377">
                <a:defRPr/>
              </a:pPr>
              <a:endParaRPr lang="en-US" sz="1200" kern="0">
                <a:solidFill>
                  <a:srgbClr val="4C4037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" name="Rectangle 34">
              <a:extLst>
                <a:ext uri="{FF2B5EF4-FFF2-40B4-BE49-F238E27FC236}">
                  <a16:creationId xmlns:a16="http://schemas.microsoft.com/office/drawing/2014/main" id="{00ED36E0-AD1E-4ED0-A620-3D4D77C4009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495293" y="3126041"/>
              <a:ext cx="258072" cy="258072"/>
            </a:xfrm>
            <a:prstGeom prst="rect">
              <a:avLst/>
            </a:prstGeom>
            <a:solidFill>
              <a:srgbClr val="077144"/>
            </a:solidFill>
            <a:ln w="3175">
              <a:noFill/>
              <a:miter lim="800000"/>
              <a:headEnd/>
              <a:tailEnd/>
            </a:ln>
            <a:effectLst/>
          </p:spPr>
          <p:txBody>
            <a:bodyPr wrap="none" lIns="83640" tIns="41820" rIns="83640" bIns="41820" anchor="ctr"/>
            <a:lstStyle/>
            <a:p>
              <a:pPr defTabSz="914377">
                <a:defRPr/>
              </a:pPr>
              <a:endParaRPr lang="en-US" sz="1200" kern="0">
                <a:solidFill>
                  <a:srgbClr val="4C4037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4" name="Rectangle 34">
              <a:extLst>
                <a:ext uri="{FF2B5EF4-FFF2-40B4-BE49-F238E27FC236}">
                  <a16:creationId xmlns:a16="http://schemas.microsoft.com/office/drawing/2014/main" id="{4CF44099-12BD-4770-B329-B238B536340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495293" y="3525430"/>
              <a:ext cx="258072" cy="258072"/>
            </a:xfrm>
            <a:prstGeom prst="rect">
              <a:avLst/>
            </a:prstGeom>
            <a:solidFill>
              <a:srgbClr val="054D2E"/>
            </a:solidFill>
            <a:ln w="3175">
              <a:noFill/>
              <a:miter lim="800000"/>
              <a:headEnd/>
              <a:tailEnd/>
            </a:ln>
            <a:effectLst/>
          </p:spPr>
          <p:txBody>
            <a:bodyPr wrap="none" lIns="83640" tIns="41820" rIns="83640" bIns="41820" anchor="ctr"/>
            <a:lstStyle/>
            <a:p>
              <a:pPr defTabSz="914377">
                <a:defRPr/>
              </a:pPr>
              <a:endParaRPr lang="en-US" sz="1200" kern="0">
                <a:solidFill>
                  <a:srgbClr val="4C4037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BF083BC5-FA0D-47B2-85F2-95B7D9AEB7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495293" y="1927871"/>
              <a:ext cx="258072" cy="258072"/>
            </a:xfrm>
            <a:prstGeom prst="rect">
              <a:avLst/>
            </a:prstGeom>
            <a:solidFill>
              <a:srgbClr val="E6E6E6"/>
            </a:solidFill>
            <a:ln w="31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83640" tIns="41820" rIns="83640" bIns="41820" anchor="ctr"/>
            <a:lstStyle/>
            <a:p>
              <a:pPr defTabSz="914377">
                <a:defRPr/>
              </a:pPr>
              <a:endParaRPr lang="en-US" sz="1200" kern="0">
                <a:solidFill>
                  <a:srgbClr val="4C4037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" name="Rectangle 34">
              <a:extLst>
                <a:ext uri="{FF2B5EF4-FFF2-40B4-BE49-F238E27FC236}">
                  <a16:creationId xmlns:a16="http://schemas.microsoft.com/office/drawing/2014/main" id="{53F87B07-AED9-401E-8019-4BCE09DCB5E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495293" y="2327261"/>
              <a:ext cx="258072" cy="258072"/>
            </a:xfrm>
            <a:prstGeom prst="rect">
              <a:avLst/>
            </a:prstGeom>
            <a:solidFill>
              <a:srgbClr val="B1B1B1"/>
            </a:solidFill>
            <a:ln w="3175">
              <a:noFill/>
              <a:miter lim="800000"/>
              <a:headEnd/>
              <a:tailEnd/>
            </a:ln>
            <a:effectLst/>
          </p:spPr>
          <p:txBody>
            <a:bodyPr wrap="none" lIns="83640" tIns="41820" rIns="83640" bIns="41820" anchor="ctr"/>
            <a:lstStyle/>
            <a:p>
              <a:pPr defTabSz="914377">
                <a:defRPr/>
              </a:pPr>
              <a:endParaRPr lang="en-US" sz="1200" kern="0">
                <a:solidFill>
                  <a:srgbClr val="4C4037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" name="Rectangle 34">
              <a:extLst>
                <a:ext uri="{FF2B5EF4-FFF2-40B4-BE49-F238E27FC236}">
                  <a16:creationId xmlns:a16="http://schemas.microsoft.com/office/drawing/2014/main" id="{62D60DB7-58CE-4FE9-A853-9DEA67E247F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495293" y="1528481"/>
              <a:ext cx="258072" cy="258072"/>
            </a:xfrm>
            <a:prstGeom prst="rect">
              <a:avLst/>
            </a:prstGeom>
            <a:solidFill>
              <a:srgbClr val="4C4037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wrap="none" lIns="83640" tIns="41820" rIns="83640" bIns="41820" anchor="ctr"/>
            <a:lstStyle/>
            <a:p>
              <a:pPr defTabSz="914377">
                <a:defRPr/>
              </a:pPr>
              <a:endParaRPr lang="en-US" sz="1200" kern="0">
                <a:solidFill>
                  <a:srgbClr val="4C4037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2940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 - Subtitle">
  <p:cSld name="Three Content - Subtitle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4" name="Google Shape;134;p21" hidden="1"/>
          <p:cNvGraphicFramePr/>
          <p:nvPr>
            <p:extLst>
              <p:ext uri="{D42A27DB-BD31-4B8C-83A1-F6EECF244321}">
                <p14:modId xmlns:p14="http://schemas.microsoft.com/office/powerpoint/2010/main" val="2951496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3" imgW="1588" imgH="1588" progId="TCLayout.ActiveDocument.1">
                  <p:embed/>
                </p:oleObj>
              </mc:Choice>
              <mc:Fallback>
                <p:oleObj name="think-cell Slide" r:id="rId3" imgW="1588" imgH="1588" progId="TCLayout.ActiveDocument.1">
                  <p:embed/>
                  <p:pic>
                    <p:nvPicPr>
                      <p:cNvPr id="134" name="Google Shape;134;p21" hidden="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Google Shape;135;p21"/>
          <p:cNvSpPr txBox="1">
            <a:spLocks noGrp="1"/>
          </p:cNvSpPr>
          <p:nvPr>
            <p:ph type="title"/>
          </p:nvPr>
        </p:nvSpPr>
        <p:spPr>
          <a:xfrm>
            <a:off x="442913" y="430514"/>
            <a:ext cx="11306175" cy="502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de-DE"/>
          </a:p>
        </p:txBody>
      </p:sp>
      <p:sp>
        <p:nvSpPr>
          <p:cNvPr id="136" name="Google Shape;136;p21"/>
          <p:cNvSpPr txBox="1">
            <a:spLocks noGrp="1"/>
          </p:cNvSpPr>
          <p:nvPr>
            <p:ph type="subTitle" idx="1"/>
          </p:nvPr>
        </p:nvSpPr>
        <p:spPr>
          <a:xfrm>
            <a:off x="442912" y="933433"/>
            <a:ext cx="11306176" cy="8858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0">
                <a:solidFill>
                  <a:schemeClr val="dk1"/>
                </a:solidFill>
              </a:defRPr>
            </a:lvl1pPr>
            <a:lvl2pPr lvl="1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2pPr>
            <a:lvl3pPr lvl="2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3pPr>
            <a:lvl4pPr lvl="3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4pPr>
            <a:lvl5pPr lvl="4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5pPr>
            <a:lvl6pPr lvl="5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6pPr>
            <a:lvl7pPr lvl="6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7pPr>
            <a:lvl8pPr lvl="7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8pPr>
            <a:lvl9pPr lvl="8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9pPr>
          </a:lstStyle>
          <a:p>
            <a:endParaRPr lang="de-DE"/>
          </a:p>
        </p:txBody>
      </p:sp>
      <p:sp>
        <p:nvSpPr>
          <p:cNvPr id="137" name="Google Shape;137;p21"/>
          <p:cNvSpPr txBox="1">
            <a:spLocks noGrp="1"/>
          </p:cNvSpPr>
          <p:nvPr>
            <p:ph type="body" idx="2"/>
          </p:nvPr>
        </p:nvSpPr>
        <p:spPr>
          <a:xfrm>
            <a:off x="442913" y="2103439"/>
            <a:ext cx="3529012" cy="4068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endParaRPr lang="de-DE"/>
          </a:p>
        </p:txBody>
      </p:sp>
      <p:sp>
        <p:nvSpPr>
          <p:cNvPr id="138" name="Google Shape;138;p21"/>
          <p:cNvSpPr txBox="1">
            <a:spLocks noGrp="1"/>
          </p:cNvSpPr>
          <p:nvPr>
            <p:ph type="body" idx="3"/>
          </p:nvPr>
        </p:nvSpPr>
        <p:spPr>
          <a:xfrm>
            <a:off x="4332288" y="2103439"/>
            <a:ext cx="3529012" cy="4068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de-DE"/>
          </a:p>
        </p:txBody>
      </p:sp>
      <p:sp>
        <p:nvSpPr>
          <p:cNvPr id="139" name="Google Shape;139;p21"/>
          <p:cNvSpPr txBox="1">
            <a:spLocks noGrp="1"/>
          </p:cNvSpPr>
          <p:nvPr>
            <p:ph type="body" idx="4"/>
          </p:nvPr>
        </p:nvSpPr>
        <p:spPr>
          <a:xfrm>
            <a:off x="8220076" y="2103439"/>
            <a:ext cx="3529012" cy="4068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C697FB-352C-4084-AF6B-F320366B58E6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fld id="{9FEB7792-4F5C-4F9D-B60B-490F1CC5A28E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A3DEE5-D6AD-4DA2-A8DF-BFE5A9EB4604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957641-D5C0-42EB-9A14-554348802988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75D95D9B-055A-444F-AA79-0A23645C88B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7989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- Subtitle">
  <p:cSld name="Two Content - Subtitle"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9" name="Google Shape;99;p17" hidden="1"/>
          <p:cNvGraphicFramePr/>
          <p:nvPr>
            <p:extLst>
              <p:ext uri="{D42A27DB-BD31-4B8C-83A1-F6EECF244321}">
                <p14:modId xmlns:p14="http://schemas.microsoft.com/office/powerpoint/2010/main" val="1170450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3" imgW="1588" imgH="1588" progId="TCLayout.ActiveDocument.1">
                  <p:embed/>
                </p:oleObj>
              </mc:Choice>
              <mc:Fallback>
                <p:oleObj name="think-cell Slide" r:id="rId3" imgW="1588" imgH="1588" progId="TCLayout.ActiveDocument.1">
                  <p:embed/>
                  <p:pic>
                    <p:nvPicPr>
                      <p:cNvPr id="99" name="Google Shape;99;p17" hidden="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Google Shape;100;p17"/>
          <p:cNvSpPr txBox="1">
            <a:spLocks noGrp="1"/>
          </p:cNvSpPr>
          <p:nvPr>
            <p:ph type="title"/>
          </p:nvPr>
        </p:nvSpPr>
        <p:spPr>
          <a:xfrm>
            <a:off x="442913" y="430514"/>
            <a:ext cx="11306175" cy="502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de-DE"/>
          </a:p>
        </p:txBody>
      </p:sp>
      <p:sp>
        <p:nvSpPr>
          <p:cNvPr id="101" name="Google Shape;101;p17"/>
          <p:cNvSpPr txBox="1">
            <a:spLocks noGrp="1"/>
          </p:cNvSpPr>
          <p:nvPr>
            <p:ph type="subTitle" idx="1"/>
          </p:nvPr>
        </p:nvSpPr>
        <p:spPr>
          <a:xfrm>
            <a:off x="442912" y="933433"/>
            <a:ext cx="11306176" cy="8858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0">
                <a:solidFill>
                  <a:schemeClr val="dk1"/>
                </a:solidFill>
              </a:defRPr>
            </a:lvl1pPr>
            <a:lvl2pPr lvl="1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2pPr>
            <a:lvl3pPr lvl="2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3pPr>
            <a:lvl4pPr lvl="3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4pPr>
            <a:lvl5pPr lvl="4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5pPr>
            <a:lvl6pPr lvl="5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6pPr>
            <a:lvl7pPr lvl="6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7pPr>
            <a:lvl8pPr lvl="7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8pPr>
            <a:lvl9pPr lvl="8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9pPr>
          </a:lstStyle>
          <a:p>
            <a:endParaRPr lang="de-DE"/>
          </a:p>
        </p:txBody>
      </p:sp>
      <p:sp>
        <p:nvSpPr>
          <p:cNvPr id="102" name="Google Shape;102;p17"/>
          <p:cNvSpPr txBox="1">
            <a:spLocks noGrp="1"/>
          </p:cNvSpPr>
          <p:nvPr>
            <p:ph type="body" idx="2"/>
          </p:nvPr>
        </p:nvSpPr>
        <p:spPr>
          <a:xfrm>
            <a:off x="442913" y="2103438"/>
            <a:ext cx="5473700" cy="40687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de-DE"/>
          </a:p>
        </p:txBody>
      </p:sp>
      <p:sp>
        <p:nvSpPr>
          <p:cNvPr id="103" name="Google Shape;103;p17"/>
          <p:cNvSpPr txBox="1">
            <a:spLocks noGrp="1"/>
          </p:cNvSpPr>
          <p:nvPr>
            <p:ph type="body" idx="3"/>
          </p:nvPr>
        </p:nvSpPr>
        <p:spPr>
          <a:xfrm>
            <a:off x="6275388" y="2103437"/>
            <a:ext cx="5473699" cy="40687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2CFDFF5-5F36-4406-BDD6-847F9A11394D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fld id="{1C5D06B3-7728-4EFA-97DA-C6ADC9219A18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C57890-8A84-43CD-9A2F-4D6EF4AD8B97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035142-33D6-4DC2-923F-001F0B5DC8A4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8DFA7F7C-6141-4093-A4E8-63FB724871F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98060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haltfoli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8138" y="1592263"/>
            <a:ext cx="11520489" cy="4681537"/>
          </a:xfrm>
        </p:spPr>
        <p:txBody>
          <a:bodyPr/>
          <a:lstStyle>
            <a:lvl1pPr>
              <a:defRPr sz="1200">
                <a:latin typeface="+mn-lt"/>
              </a:defRPr>
            </a:lvl1pPr>
            <a:lvl2pPr marL="541338" indent="-176213">
              <a:buSzPct val="100000"/>
              <a:buFont typeface="Arial" panose="020B0604020202020204" pitchFamily="34" charset="0"/>
              <a:buChar char="•"/>
              <a:defRPr sz="1200" b="0">
                <a:latin typeface="+mn-lt"/>
              </a:defRPr>
            </a:lvl2pPr>
            <a:lvl3pPr marL="719138" indent="-177800">
              <a:buSzPct val="90000"/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ACFF67E0-60AB-4AB3-B63E-97BAE733CB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8139" y="6395071"/>
            <a:ext cx="9550580" cy="383358"/>
          </a:xfrm>
        </p:spPr>
        <p:txBody>
          <a:bodyPr anchor="ctr"/>
          <a:lstStyle>
            <a:lvl1pPr>
              <a:defRPr sz="800" b="1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541338" indent="-176213">
              <a:buSzPct val="100000"/>
              <a:buFont typeface="Arial" panose="020B0604020202020204" pitchFamily="34" charset="0"/>
              <a:buChar char="•"/>
              <a:defRPr sz="1200" b="0">
                <a:latin typeface="+mn-lt"/>
              </a:defRPr>
            </a:lvl2pPr>
            <a:lvl3pPr marL="719138" indent="-177800">
              <a:buSzPct val="90000"/>
              <a:buFont typeface="Courier New" panose="02070309020205020404" pitchFamily="49" charset="0"/>
              <a:buChar char="o"/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2159000" algn="l"/>
              </a:tabLst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64702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 userDrawn="1"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 userDrawn="1"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72F3E68F-4852-4121-8886-944CC14491CF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7580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C75C5F0C-8B9B-4A38-8E14-6437BEAB0DEF}" type="datetime1">
              <a:rPr lang="de-DE" smtClean="0"/>
              <a:t>2022-05-13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 userDrawn="1"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333B8CAC-45F5-4E4D-935E-DF0718CC56C1}"/>
              </a:ext>
            </a:extLst>
          </p:cNvPr>
          <p:cNvGrpSpPr/>
          <p:nvPr userDrawn="1"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5E5F891E-CC26-4403-8404-7D6644CA7E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554A93CD-B3DD-496E-9C1A-EDC65590B8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85B403AC-0C92-4E86-A864-3B3CBE5FB8DB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7F986846-E3A3-4F2E-B92B-69C7EFDD3E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B0CA22B6-A59B-4FC8-99DF-80E8C22E28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F81E8CB3-330A-4E20-B9E5-A086419082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C6BAA7EC-1978-4FCF-A7EC-D3AE80FEEC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A135AE69-4A36-42E6-AF73-917943FC94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C7CB8A78-7E6C-4275-8F55-0DCF03F2AA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A0010714-24B6-4962-BF7D-EA1BE34666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641653C8-7FE3-4AE3-A3B3-D4EFD2B21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F7332743-42FB-4747-B8A5-A59829BE26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08EDCD56-147F-4961-A599-66F4CA141F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58772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 userDrawn="1"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2C95526-C81D-4810-A02A-75B6C32E6517}" type="datetime1">
              <a:rPr lang="de-DE" smtClean="0"/>
              <a:t>2022-05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297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D8CB3D5-AD9B-4718-8C64-DC98EE6DE01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F6B3ACFC-83CA-42B5-A262-CC17F2457946}" type="datetime1">
              <a:rPr lang="de-DE" smtClean="0"/>
              <a:t>2022-05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8517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AE1ACD0B-7549-4DB6-B932-5D17631C4F42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 userDrawn="1"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569D911B-8F62-48CA-A36F-819449CDD8D7}" type="datetime1">
              <a:rPr lang="de-DE" smtClean="0"/>
              <a:t>2022-05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3639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7AA13571-2F70-4B49-A499-715E479A8D49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1173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folie Voll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3988F174-6036-41F7-9040-E94FB9C3CEC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BF027D0F-C870-4F12-9709-BD05755BEC17}" type="datetime1">
              <a:rPr lang="de-DE" smtClean="0"/>
              <a:t>2022-05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3627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 Voll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1F3649E4-FECA-445B-A2ED-9AD453F7170B}" type="datetime1">
              <a:rPr lang="de-DE" smtClean="0"/>
              <a:t>2022-05-1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3652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 userDrawn="1"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3A70558A-82F0-4323-9E0D-86EF81D0BF3C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914B376C-9141-4DC8-8154-F283A5A7BB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3935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CA0D49F3-E004-409E-920B-44D3077508FD}" type="datetime1">
              <a:rPr lang="de-DE" smtClean="0"/>
              <a:t>2022-05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8414F840-8E20-4CCB-B143-253301C042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08218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6BD2EA47-DDE6-43A4-9747-89F75FE534F9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FD37BB37-15C1-4D4F-B838-4BB494FCC9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292745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AA67F46-BB2F-498A-A23F-292B46057D34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43D1650B-5C98-4AAF-B2EE-7690555010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59680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61216CF-99D7-4F9F-9198-75AF96C7DCC1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891DB37A-5F81-4650-B5EC-5A44F6A041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846127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99911845-3EBE-4D6F-BFCD-F298999CFE0A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66B6D06B-2653-4492-86EF-908ECD7ABE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55651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25EAD66-BCE5-49C2-ADD5-FD219D56176F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95D9ACE3-4DC2-4CC4-B29C-FE051965C9A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034385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9157D00-72E1-4FB6-8D5D-DC95648515B9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A4422F65-D8EA-46AF-A699-D91B7554C86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233917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48A341EB-8E22-4A7D-B198-A3FE94E10FA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14106EBD-42D2-40E5-8BCB-1B2A30FA38B2}" type="datetime1">
              <a:rPr lang="de-DE" smtClean="0"/>
              <a:t>2022-05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7A2607C6-B939-4A5C-89EE-3FADD9744C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709795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0059522D-3094-40DC-8A1E-FDC03AD58396}" type="datetime1">
              <a:rPr lang="de-DE" smtClean="0"/>
              <a:t>2022-05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BC69060B-162B-4C5C-A91D-870BEA45C8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0BF02A1A-5FD3-421F-9323-46435A7BCD7F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5598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44C9427-0BEC-4486-B2C7-7D7855F1E398}" type="datetime1">
              <a:rPr lang="de-DE" smtClean="0"/>
              <a:t>2022-05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CDCE67FF-8C34-4EA1-A50E-A51B7729B61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081490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Handy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79041A03-3918-4BF6-93ED-25622ED2552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920DDD0C-569A-4D21-BDC1-8B4E913CC688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80541407-CC33-4220-84FA-A837FAD3EE6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0428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iPad Mock Up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FFC1108E-D0EC-4363-BACD-E7C6405BAD95}"/>
              </a:ext>
            </a:extLst>
          </p:cNvPr>
          <p:cNvSpPr/>
          <p:nvPr userDrawn="1"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C9F5CE4-A4DA-4C33-961E-90B0C6904587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021433C2-8557-4AC9-B08A-C2CF238B50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93701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94EA1D87-17FA-4955-A24F-68104FF021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73EF6E3C-E08B-4103-9472-123D9BE5BD67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373E5ECD-7BED-4D15-90F5-00D4CEBF83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909307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BE01C984-1C52-40B3-8FC6-4F4670CDFEF7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2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8"/>
            <a:ext cx="3821114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B3FBE115-0132-47D3-9CA6-E3974709BA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03910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4E4267CA-0B0E-4C59-AB3E-777C004D0751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0621D818-0EAB-4439-9B91-D7BD6EEC3E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83392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FF2A0F2D-A036-443A-B097-A88D0E46E7DC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7DC28A95-F57F-42BD-A112-794978F2C0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45C68B6E-864E-4757-8FBD-B5EB6C66076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2E0DACAD-E889-4699-9EFB-003D891B6B8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47FBA20F-37BD-4882-BFD8-C8FE0EF6954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29475EE-C7E3-4D4B-8C7B-101E4F3EF50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</p:spTree>
    <p:extLst>
      <p:ext uri="{BB962C8B-B14F-4D97-AF65-F5344CB8AC3E}">
        <p14:creationId xmlns:p14="http://schemas.microsoft.com/office/powerpoint/2010/main" val="2661529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Inhalt Farbfläch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875CEC11-656E-45B5-B04B-88F3FEB7E7F8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90D2C574-D497-4C62-965B-B7B78883959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330E89D2-DE47-4785-A913-9B0D34C37E4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48" name="Textplatzhalter 16">
            <a:extLst>
              <a:ext uri="{FF2B5EF4-FFF2-40B4-BE49-F238E27FC236}">
                <a16:creationId xmlns:a16="http://schemas.microsoft.com/office/drawing/2014/main" id="{2EC7269E-71A8-4307-9A13-7EAADABB64F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E53AD428-D3E1-4EE1-B9C5-49DE987BF61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5" name="Textplatzhalter 8">
            <a:extLst>
              <a:ext uri="{FF2B5EF4-FFF2-40B4-BE49-F238E27FC236}">
                <a16:creationId xmlns:a16="http://schemas.microsoft.com/office/drawing/2014/main" id="{5716F1A4-52F4-4FA3-94B9-AD10F95146E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6" name="Textplatzhalter 8">
            <a:extLst>
              <a:ext uri="{FF2B5EF4-FFF2-40B4-BE49-F238E27FC236}">
                <a16:creationId xmlns:a16="http://schemas.microsoft.com/office/drawing/2014/main" id="{0C568DF1-8822-4956-B2CA-D4CF0312D9F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7" name="Textplatzhalter 16">
            <a:extLst>
              <a:ext uri="{FF2B5EF4-FFF2-40B4-BE49-F238E27FC236}">
                <a16:creationId xmlns:a16="http://schemas.microsoft.com/office/drawing/2014/main" id="{57E36EEB-D356-4A20-B333-FC54DC01551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9504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 Inhalt Farbfläch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9BB2417F-A7E8-43FE-B4D1-BDC79D8C18B0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88CA8FC8-947A-4771-B487-B79B084C7F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5D5B5FA2-EABF-4A53-9CC2-33A2AF9ADBA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ECFAD37C-78E5-4B63-94F8-2E25C162EF7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4DBBAE40-4AE6-4A53-8E33-8BF3C08852C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80C0C41C-DF66-4D75-B3AD-D8B9ECA09B4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23BD5A34-D428-4F88-A83E-3016DE42910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515D80D5-4CAD-4402-9694-A09186BB5CA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9C23A202-2D17-4D53-ABA4-DD01DCD7768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3E87C2CD-61E1-4613-94C6-3CF4C20FE0B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91127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Freihandform: Form 71">
            <a:extLst>
              <a:ext uri="{FF2B5EF4-FFF2-40B4-BE49-F238E27FC236}">
                <a16:creationId xmlns:a16="http://schemas.microsoft.com/office/drawing/2014/main" id="{A75114BC-7431-4632-B07E-7999E2A151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3" name="Rechteck: eine Ecke abgerundet 72">
            <a:extLst>
              <a:ext uri="{FF2B5EF4-FFF2-40B4-BE49-F238E27FC236}">
                <a16:creationId xmlns:a16="http://schemas.microsoft.com/office/drawing/2014/main" id="{A7A827D1-AA06-488B-BA96-C287ED4B204C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D6DACE5A-3BDE-412C-A52F-5E1754695BA8}"/>
              </a:ext>
            </a:extLst>
          </p:cNvPr>
          <p:cNvGrpSpPr/>
          <p:nvPr userDrawn="1"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75" name="Oval 5">
              <a:extLst>
                <a:ext uri="{FF2B5EF4-FFF2-40B4-BE49-F238E27FC236}">
                  <a16:creationId xmlns:a16="http://schemas.microsoft.com/office/drawing/2014/main" id="{03561C31-2A86-44BB-99A5-BB37740F83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76" name="Freeform 6">
              <a:extLst>
                <a:ext uri="{FF2B5EF4-FFF2-40B4-BE49-F238E27FC236}">
                  <a16:creationId xmlns:a16="http://schemas.microsoft.com/office/drawing/2014/main" id="{3DCC3458-AE28-4F4E-B295-E2688C5B5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77" name="Gruppieren 76">
              <a:extLst>
                <a:ext uri="{FF2B5EF4-FFF2-40B4-BE49-F238E27FC236}">
                  <a16:creationId xmlns:a16="http://schemas.microsoft.com/office/drawing/2014/main" id="{97C3C931-3680-4F2F-9C0A-F0AC0188B763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78" name="Freeform 7">
                <a:extLst>
                  <a:ext uri="{FF2B5EF4-FFF2-40B4-BE49-F238E27FC236}">
                    <a16:creationId xmlns:a16="http://schemas.microsoft.com/office/drawing/2014/main" id="{48EE78C4-2ACE-48F2-A407-A34141AA6F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79" name="Freeform 8">
                <a:extLst>
                  <a:ext uri="{FF2B5EF4-FFF2-40B4-BE49-F238E27FC236}">
                    <a16:creationId xmlns:a16="http://schemas.microsoft.com/office/drawing/2014/main" id="{E5CA907D-D372-4599-85D9-55D98620D9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0" name="Freeform 9">
                <a:extLst>
                  <a:ext uri="{FF2B5EF4-FFF2-40B4-BE49-F238E27FC236}">
                    <a16:creationId xmlns:a16="http://schemas.microsoft.com/office/drawing/2014/main" id="{ACCFFCF8-2487-4783-82D6-31D90EFED7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1" name="Freeform 10">
                <a:extLst>
                  <a:ext uri="{FF2B5EF4-FFF2-40B4-BE49-F238E27FC236}">
                    <a16:creationId xmlns:a16="http://schemas.microsoft.com/office/drawing/2014/main" id="{122D8716-CC65-435B-A7F5-76641D0009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2" name="Freeform 11">
                <a:extLst>
                  <a:ext uri="{FF2B5EF4-FFF2-40B4-BE49-F238E27FC236}">
                    <a16:creationId xmlns:a16="http://schemas.microsoft.com/office/drawing/2014/main" id="{D09F0330-0835-4449-BFCA-411AAA5B03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3" name="Freeform 12">
                <a:extLst>
                  <a:ext uri="{FF2B5EF4-FFF2-40B4-BE49-F238E27FC236}">
                    <a16:creationId xmlns:a16="http://schemas.microsoft.com/office/drawing/2014/main" id="{D242E678-8652-4C8F-A9E6-92E77EFCC9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4" name="Freeform 13">
                <a:extLst>
                  <a:ext uri="{FF2B5EF4-FFF2-40B4-BE49-F238E27FC236}">
                    <a16:creationId xmlns:a16="http://schemas.microsoft.com/office/drawing/2014/main" id="{ACC93D24-E498-4606-963A-3666B19236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5" name="Freeform 14">
                <a:extLst>
                  <a:ext uri="{FF2B5EF4-FFF2-40B4-BE49-F238E27FC236}">
                    <a16:creationId xmlns:a16="http://schemas.microsoft.com/office/drawing/2014/main" id="{AA4821B1-BC64-404A-A60F-21DD1D73B6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6" name="Freeform 15">
                <a:extLst>
                  <a:ext uri="{FF2B5EF4-FFF2-40B4-BE49-F238E27FC236}">
                    <a16:creationId xmlns:a16="http://schemas.microsoft.com/office/drawing/2014/main" id="{BB7B10B1-8F28-40DD-9070-C3A8B66DF1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87" name="Freeform 16">
                <a:extLst>
                  <a:ext uri="{FF2B5EF4-FFF2-40B4-BE49-F238E27FC236}">
                    <a16:creationId xmlns:a16="http://schemas.microsoft.com/office/drawing/2014/main" id="{CD98CD83-2903-4BF0-92D8-3AEBA4C68D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88" name="Untertitel 2">
            <a:extLst>
              <a:ext uri="{FF2B5EF4-FFF2-40B4-BE49-F238E27FC236}">
                <a16:creationId xmlns:a16="http://schemas.microsoft.com/office/drawing/2014/main" id="{B182D324-706C-4B4B-B0E1-762F704723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89" name="Datumsplatzhalter 2">
            <a:extLst>
              <a:ext uri="{FF2B5EF4-FFF2-40B4-BE49-F238E27FC236}">
                <a16:creationId xmlns:a16="http://schemas.microsoft.com/office/drawing/2014/main" id="{EAB13623-1E61-49E9-86E6-69D66849C70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74BB9F4A-3A5D-44BC-9C8D-072ACE3D5F7F}" type="datetime1">
              <a:rPr lang="de-DE" smtClean="0"/>
              <a:t>2022-05-13</a:t>
            </a:fld>
            <a:endParaRPr lang="de-DE"/>
          </a:p>
        </p:txBody>
      </p:sp>
      <p:sp>
        <p:nvSpPr>
          <p:cNvPr id="90" name="Fußzeilenplatzhalter 3">
            <a:extLst>
              <a:ext uri="{FF2B5EF4-FFF2-40B4-BE49-F238E27FC236}">
                <a16:creationId xmlns:a16="http://schemas.microsoft.com/office/drawing/2014/main" id="{959B466E-EFC2-4535-8E5D-8512F1C13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1" name="Foliennummernplatzhalter 5">
            <a:extLst>
              <a:ext uri="{FF2B5EF4-FFF2-40B4-BE49-F238E27FC236}">
                <a16:creationId xmlns:a16="http://schemas.microsoft.com/office/drawing/2014/main" id="{92C05B7D-E310-4914-AD1E-CD201C37A8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7CB73F9C-7404-4DF7-9BA2-F74C112F24E2}"/>
              </a:ext>
            </a:extLst>
          </p:cNvPr>
          <p:cNvSpPr txBox="1">
            <a:spLocks/>
          </p:cNvSpPr>
          <p:nvPr userDrawn="1"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93" name="Textfeld 92">
            <a:extLst>
              <a:ext uri="{FF2B5EF4-FFF2-40B4-BE49-F238E27FC236}">
                <a16:creationId xmlns:a16="http://schemas.microsoft.com/office/drawing/2014/main" id="{94EFD995-85F2-4B7B-A60A-28EA9366F6B3}"/>
              </a:ext>
            </a:extLst>
          </p:cNvPr>
          <p:cNvSpPr txBox="1">
            <a:spLocks/>
          </p:cNvSpPr>
          <p:nvPr userDrawn="1"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1582667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 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92F0D71F-BF03-4DB1-8CA0-292D89379191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4165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435B935F-3CE1-426B-ACBB-CC856A95BE0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8CCD7F9C-96EA-486E-A746-640CF133984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C42ABD01-4783-465B-922D-9C11AEBC2FF1}"/>
              </a:ext>
            </a:extLst>
          </p:cNvPr>
          <p:cNvGrpSpPr/>
          <p:nvPr userDrawn="1"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2ECC3510-0BDD-416D-A711-A8567EB76D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6B842A0A-4FAF-4A91-9C17-60CBF9EE7E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B34D0E4F-ABE3-42EE-B8F4-00F4533D967A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5" name="Freeform 7">
                <a:extLst>
                  <a:ext uri="{FF2B5EF4-FFF2-40B4-BE49-F238E27FC236}">
                    <a16:creationId xmlns:a16="http://schemas.microsoft.com/office/drawing/2014/main" id="{8EBFC249-1DCC-4F3D-A11B-EDEF5AC3B1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8">
                <a:extLst>
                  <a:ext uri="{FF2B5EF4-FFF2-40B4-BE49-F238E27FC236}">
                    <a16:creationId xmlns:a16="http://schemas.microsoft.com/office/drawing/2014/main" id="{4FACFBD1-3F5B-4518-B022-9D8A8A40C8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9">
                <a:extLst>
                  <a:ext uri="{FF2B5EF4-FFF2-40B4-BE49-F238E27FC236}">
                    <a16:creationId xmlns:a16="http://schemas.microsoft.com/office/drawing/2014/main" id="{4A657C7E-1E53-418B-BCD7-F37ED08DA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0">
                <a:extLst>
                  <a:ext uri="{FF2B5EF4-FFF2-40B4-BE49-F238E27FC236}">
                    <a16:creationId xmlns:a16="http://schemas.microsoft.com/office/drawing/2014/main" id="{AD9FB43F-10EF-44CF-B17E-0D49597C72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1">
                <a:extLst>
                  <a:ext uri="{FF2B5EF4-FFF2-40B4-BE49-F238E27FC236}">
                    <a16:creationId xmlns:a16="http://schemas.microsoft.com/office/drawing/2014/main" id="{E72A5C80-62B0-40B5-9017-754BA20921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2">
                <a:extLst>
                  <a:ext uri="{FF2B5EF4-FFF2-40B4-BE49-F238E27FC236}">
                    <a16:creationId xmlns:a16="http://schemas.microsoft.com/office/drawing/2014/main" id="{162EC822-8A93-473A-8293-398425458B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3">
                <a:extLst>
                  <a:ext uri="{FF2B5EF4-FFF2-40B4-BE49-F238E27FC236}">
                    <a16:creationId xmlns:a16="http://schemas.microsoft.com/office/drawing/2014/main" id="{C93EC3FC-B54D-4A73-99FE-3C7EAA64EA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4">
                <a:extLst>
                  <a:ext uri="{FF2B5EF4-FFF2-40B4-BE49-F238E27FC236}">
                    <a16:creationId xmlns:a16="http://schemas.microsoft.com/office/drawing/2014/main" id="{C2F3DE1D-0C56-48C9-9F5F-02D6F7C710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5">
                <a:extLst>
                  <a:ext uri="{FF2B5EF4-FFF2-40B4-BE49-F238E27FC236}">
                    <a16:creationId xmlns:a16="http://schemas.microsoft.com/office/drawing/2014/main" id="{A940E741-2C0C-4F2A-94BA-0F8C57F4A0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6">
                <a:extLst>
                  <a:ext uri="{FF2B5EF4-FFF2-40B4-BE49-F238E27FC236}">
                    <a16:creationId xmlns:a16="http://schemas.microsoft.com/office/drawing/2014/main" id="{C1F984D3-FF1A-461B-A68D-0A55217AD9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5B6BE4A4-94C5-4665-9820-26D2838597AD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DC4BC0B6-4C79-4EA0-84AE-EA0E888D39DD}" type="datetime1">
              <a:rPr lang="de-DE" smtClean="0"/>
              <a:t>2022-05-13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41DFDEE5-C952-4E85-A328-F9EC1FD0F4A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47" name="Foliennummernplatzhalter 4">
            <a:extLst>
              <a:ext uri="{FF2B5EF4-FFF2-40B4-BE49-F238E27FC236}">
                <a16:creationId xmlns:a16="http://schemas.microsoft.com/office/drawing/2014/main" id="{C0FB04B6-F1B9-44FC-A564-6FFFB8F80BE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Untertitel 2">
            <a:extLst>
              <a:ext uri="{FF2B5EF4-FFF2-40B4-BE49-F238E27FC236}">
                <a16:creationId xmlns:a16="http://schemas.microsoft.com/office/drawing/2014/main" id="{C6B27147-8B2D-4C17-AA77-D3565300D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CBA710CE-10B5-4C03-B16D-7A91DA4405F3}"/>
              </a:ext>
            </a:extLst>
          </p:cNvPr>
          <p:cNvSpPr txBox="1">
            <a:spLocks/>
          </p:cNvSpPr>
          <p:nvPr userDrawn="1"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7030544-A8FA-475D-8C9E-1A214F690BF6}"/>
              </a:ext>
            </a:extLst>
          </p:cNvPr>
          <p:cNvSpPr txBox="1">
            <a:spLocks/>
          </p:cNvSpPr>
          <p:nvPr userDrawn="1"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3141858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0BD7C444-6F1A-4C16-A277-F416C32FE1C5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86919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ry_LichtBli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 userDrawn="1"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70E7AD60-B1B1-4CE9-BB74-E4AD84CE7D96}" type="datetime1">
              <a:rPr lang="de-DE" smtClean="0"/>
              <a:t>2022-05-13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Gas positions</a:t>
            </a:r>
            <a:endParaRPr lang="de-DE"/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4314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000" y="432000"/>
            <a:ext cx="11011384" cy="816000"/>
          </a:xfrm>
        </p:spPr>
        <p:txBody>
          <a:bodyPr/>
          <a:lstStyle/>
          <a:p>
            <a:r>
              <a:rPr lang="nl-NL" noProof="0"/>
              <a:t>Inhou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0000" y="1440000"/>
            <a:ext cx="8736000" cy="4944000"/>
          </a:xfrm>
        </p:spPr>
        <p:txBody>
          <a:bodyPr/>
          <a:lstStyle>
            <a:lvl1pPr>
              <a:lnSpc>
                <a:spcPct val="150000"/>
              </a:lnSpc>
              <a:spcBef>
                <a:spcPts val="533"/>
              </a:spcBef>
              <a:defRPr sz="1200">
                <a:solidFill>
                  <a:schemeClr val="tx2"/>
                </a:solidFill>
              </a:defRPr>
            </a:lvl1pPr>
            <a:lvl2pPr>
              <a:lnSpc>
                <a:spcPct val="150000"/>
              </a:lnSpc>
              <a:defRPr sz="1200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nl-NL" noProof="0"/>
              <a:t>Opsomming niveau een</a:t>
            </a:r>
          </a:p>
          <a:p>
            <a:pPr lvl="1"/>
            <a:r>
              <a:rPr lang="nl-NL" noProof="0"/>
              <a:t>Opsomming niveau twe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Gas position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8976000" y="6528000"/>
            <a:ext cx="2736000" cy="192000"/>
          </a:xfrm>
        </p:spPr>
        <p:txBody>
          <a:bodyPr/>
          <a:lstStyle/>
          <a:p>
            <a:fld id="{87FB1D72-F85C-463E-B2AB-D07D40E688BD}" type="datetime1">
              <a:rPr lang="de-DE" noProof="0" smtClean="0"/>
              <a:t>2022-05-13</a:t>
            </a:fld>
            <a:endParaRPr lang="nl-NL" noProof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12000" y="6528000"/>
            <a:ext cx="480000" cy="192000"/>
          </a:xfrm>
        </p:spPr>
        <p:txBody>
          <a:bodyPr/>
          <a:lstStyle/>
          <a:p>
            <a:fld id="{2A2A31B5-C30F-1941-86CC-A328709BE397}" type="slidenum">
              <a:rPr lang="nl-NL" noProof="0" smtClean="0"/>
              <a:t>‹#›</a:t>
            </a:fld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273598162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79E326-CFCF-40B6-8DF8-1D5902A8FB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Titel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95DA715-E2D1-40C2-9DA3-D83F8BBFB9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66CBF7-8B2F-43B9-8983-1583F57DC658}" type="slidenum">
              <a:rPr lang="nl-NL" smtClean="0"/>
              <a:t>‹#›</a:t>
            </a:fld>
            <a:endParaRPr lang="nl-NL"/>
          </a:p>
        </p:txBody>
      </p:sp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77D9F2AE-8E0E-4BEC-8951-002962ECCE8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19175" y="1437959"/>
            <a:ext cx="10153650" cy="323615"/>
          </a:xfrm>
        </p:spPr>
        <p:txBody>
          <a:bodyPr anchor="t" anchorCtr="0">
            <a:spAutoFit/>
          </a:bodyPr>
          <a:lstStyle>
            <a:lvl1pPr marL="0" indent="0">
              <a:lnSpc>
                <a:spcPct val="82000"/>
              </a:lnSpc>
              <a:buNone/>
              <a:defRPr sz="1800" b="1" spc="-40" baseline="0">
                <a:solidFill>
                  <a:schemeClr val="accent1"/>
                </a:solidFill>
              </a:defRPr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nl-NL"/>
              <a:t>Subtitel</a:t>
            </a:r>
          </a:p>
        </p:txBody>
      </p:sp>
    </p:spTree>
    <p:extLst>
      <p:ext uri="{BB962C8B-B14F-4D97-AF65-F5344CB8AC3E}">
        <p14:creationId xmlns:p14="http://schemas.microsoft.com/office/powerpoint/2010/main" val="134936997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 userDrawn="1"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 userDrawn="1"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D85581E3-F714-408A-9C20-94013B9EB38A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8344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9728FC04-7A3B-4E6E-BFA4-791709312AB2}" type="datetime1">
              <a:rPr lang="de-DE" smtClean="0"/>
              <a:t>2022-05-13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 userDrawn="1"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C3620A67-701F-4A72-8B7E-CD8F1219791E}"/>
              </a:ext>
            </a:extLst>
          </p:cNvPr>
          <p:cNvGrpSpPr/>
          <p:nvPr userDrawn="1"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9DB51519-212F-4F9C-A8F0-CD205DEB5C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4FA49F84-6C42-4DB9-BBD7-03D2B51051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65D3213F-ECAE-4FF2-8704-4FEEDBE339F0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22E2667-2878-43D2-9F15-F7CEE1025C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707F320C-16FC-4FE5-91EC-B7E2D0D677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C41667E5-D027-4E3F-AE8D-D0DA61F914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8429D5A7-5EB1-4F0A-8001-9D6589ED82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8B38EFD7-69C6-438A-B275-69A9A6E90C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3A792FA5-9746-4A13-AB69-129DED9096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94C5166C-CEB1-4E4C-8031-569B5A5AD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FAD93053-B1D2-43A0-AD0A-45BA4123B0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B793DECC-AF70-4555-87F4-4C604089E5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8A47073C-4124-4E90-83B0-4220A985EB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66084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 userDrawn="1"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E266BFC0-5C5C-4AB2-B1C7-A8BD7A55C1B4}" type="datetime1">
              <a:rPr lang="de-DE" smtClean="0"/>
              <a:t>2022-05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2790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3441832-CABC-4B2B-9A8F-52E8F7E5BB2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F02773C2-0831-4F72-AC9E-6D612495D49E}" type="datetime1">
              <a:rPr lang="de-DE" smtClean="0"/>
              <a:t>2022-05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0560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 userDrawn="1"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C6269ED5-BE9C-4E86-87F1-602220D19767}" type="datetime1">
              <a:rPr lang="de-DE" smtClean="0"/>
              <a:t>2022-05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8B0742D8-C6F9-4208-9FBD-2C97B14287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tx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3D94055D-D184-4607-84E0-82BDD3BEB334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0363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folie Vollbild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A0380AB3-746F-4A17-BEFA-B2E3323E84B1}" type="datetime1">
              <a:rPr lang="de-DE" smtClean="0"/>
              <a:t>2022-05-1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176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C68D2793-AA3E-4526-BA3A-60B0E64878B9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137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folie Voll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3E9D82D-5D08-4FC1-95C5-CD90A0D935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B8D83B-3D98-4471-AF20-0C67F3010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2816224"/>
            <a:ext cx="8064500" cy="1841501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</a:t>
            </a:r>
            <a:br>
              <a:rPr lang="de-DE"/>
            </a:br>
            <a:r>
              <a:rPr lang="de-DE"/>
              <a:t>ein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4AD187A-8A99-4D06-B785-2C21A941A8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7488" y="4657725"/>
            <a:ext cx="3095625" cy="608013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Autor 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8AA59F2-37D4-43F8-B192-3887B7508CA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1160919" y="7009500"/>
            <a:ext cx="457993" cy="101671"/>
          </a:xfrm>
        </p:spPr>
        <p:txBody>
          <a:bodyPr/>
          <a:lstStyle/>
          <a:p>
            <a:pPr algn="r"/>
            <a:fld id="{2867F616-D3C2-4604-AED9-5E9944756BD6}" type="datetime1">
              <a:rPr lang="de-DE" smtClean="0"/>
              <a:t>2022-05-1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1EEDA36-86DF-4B36-9DC1-5C5F714BDF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8401051" y="7009500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83B89D-AEFA-4D2D-8474-085DB9B146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25538" y="7009500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0" name="Textplatzhalter 117">
            <a:extLst>
              <a:ext uri="{FF2B5EF4-FFF2-40B4-BE49-F238E27FC236}">
                <a16:creationId xmlns:a16="http://schemas.microsoft.com/office/drawing/2014/main" id="{BE357662-367D-4A40-9798-9F75D1A357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8946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 userDrawn="1"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D81683C1-E451-49AD-8843-97056CB5286F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7A2566E7-C72F-4F20-843B-97B11B2AE3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88030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1D5EA512-6DF2-48C0-A2A0-97FD3599608F}" type="datetime1">
              <a:rPr lang="de-DE" smtClean="0"/>
              <a:t>2022-05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EAA66BB2-33DC-47E3-A8EA-06C1C8EE99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839262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3D2A4342-772C-454C-9FB8-F488668A6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691356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3A90691E-716D-4DE3-BDD9-DFE364F3C8D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401050" y="0"/>
            <a:ext cx="3790950" cy="5990252"/>
          </a:xfrm>
          <a:custGeom>
            <a:avLst/>
            <a:gdLst>
              <a:gd name="connsiteX0" fmla="*/ 0 w 3790950"/>
              <a:gd name="connsiteY0" fmla="*/ 0 h 5990252"/>
              <a:gd name="connsiteX1" fmla="*/ 3790950 w 3790950"/>
              <a:gd name="connsiteY1" fmla="*/ 0 h 5990252"/>
              <a:gd name="connsiteX2" fmla="*/ 3790950 w 3790950"/>
              <a:gd name="connsiteY2" fmla="*/ 5990252 h 5990252"/>
              <a:gd name="connsiteX3" fmla="*/ 861219 w 3790950"/>
              <a:gd name="connsiteY3" fmla="*/ 5990252 h 5990252"/>
              <a:gd name="connsiteX4" fmla="*/ 0 w 379095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90950" h="5990252">
                <a:moveTo>
                  <a:pt x="0" y="0"/>
                </a:moveTo>
                <a:lnTo>
                  <a:pt x="3790950" y="0"/>
                </a:lnTo>
                <a:lnTo>
                  <a:pt x="379095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3D12F-5BA2-4212-90D8-C3F2987139E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92955825-48CD-46E6-89D7-F6C96A1A9C1F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B1AFC9-741A-4EC5-8430-DC0E85F28FA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D9EA5FB-BF30-46C2-B765-2D66629D13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1B82D6B-28E6-4BDE-BF4D-24E61A5318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6601FC1B-771F-4993-88C6-C265E8C9B2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7718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0CFFCAA-FE4E-4313-92E3-61D46429689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3FA860D-0A1E-41CA-B1A0-2CE3754EDE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1"/>
            <a:ext cx="6096000" cy="5990252"/>
          </a:xfrm>
          <a:custGeom>
            <a:avLst/>
            <a:gdLst>
              <a:gd name="connsiteX0" fmla="*/ 0 w 6096000"/>
              <a:gd name="connsiteY0" fmla="*/ 0 h 5990252"/>
              <a:gd name="connsiteX1" fmla="*/ 6096000 w 6096000"/>
              <a:gd name="connsiteY1" fmla="*/ 0 h 5990252"/>
              <a:gd name="connsiteX2" fmla="*/ 6096000 w 6096000"/>
              <a:gd name="connsiteY2" fmla="*/ 5990252 h 5990252"/>
              <a:gd name="connsiteX3" fmla="*/ 861219 w 6096000"/>
              <a:gd name="connsiteY3" fmla="*/ 5990252 h 5990252"/>
              <a:gd name="connsiteX4" fmla="*/ 0 w 6096000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990252">
                <a:moveTo>
                  <a:pt x="0" y="0"/>
                </a:moveTo>
                <a:lnTo>
                  <a:pt x="6096000" y="0"/>
                </a:lnTo>
                <a:lnTo>
                  <a:pt x="6096000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3A2B0-760E-4033-91D7-8649FC3A05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0C02F4C6-9250-420D-A873-32DE206E3C3E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E991CD1-EC6E-43B8-8B3F-4B3737746BE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784862-17BF-429A-BCE7-BD798D825FD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8CA28BF6-CD77-4A2E-A2AD-EB98ED41B5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227F9FFE-E277-4A36-BB69-A24DB7C013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795335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17B55F7-F5B3-46AC-9AB6-55579C09F6E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23050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2301875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43E2C865-4F6F-4FFB-9FA5-5FFFFBBB05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792538" y="0"/>
            <a:ext cx="8399462" cy="5990252"/>
          </a:xfrm>
          <a:custGeom>
            <a:avLst/>
            <a:gdLst>
              <a:gd name="connsiteX0" fmla="*/ 0 w 8399462"/>
              <a:gd name="connsiteY0" fmla="*/ 0 h 5990252"/>
              <a:gd name="connsiteX1" fmla="*/ 8399462 w 8399462"/>
              <a:gd name="connsiteY1" fmla="*/ 0 h 5990252"/>
              <a:gd name="connsiteX2" fmla="*/ 8399462 w 8399462"/>
              <a:gd name="connsiteY2" fmla="*/ 5990252 h 5990252"/>
              <a:gd name="connsiteX3" fmla="*/ 861219 w 8399462"/>
              <a:gd name="connsiteY3" fmla="*/ 5990252 h 5990252"/>
              <a:gd name="connsiteX4" fmla="*/ 0 w 8399462"/>
              <a:gd name="connsiteY4" fmla="*/ 5129033 h 5990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462" h="5990252">
                <a:moveTo>
                  <a:pt x="0" y="0"/>
                </a:moveTo>
                <a:lnTo>
                  <a:pt x="8399462" y="0"/>
                </a:lnTo>
                <a:lnTo>
                  <a:pt x="8399462" y="5990252"/>
                </a:lnTo>
                <a:lnTo>
                  <a:pt x="861219" y="5990252"/>
                </a:lnTo>
                <a:cubicBezTo>
                  <a:pt x="385581" y="5990252"/>
                  <a:pt x="0" y="5604671"/>
                  <a:pt x="0" y="512903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0E5F44-7D73-4948-A7F2-232AB4FF03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F806271-97D7-4C73-ABA5-2563FF9A0BB2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A77F78-4CC6-4F26-8568-3DB995886C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FCC11E2-1CDF-49C5-9FE1-DB63FC68EC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117">
            <a:extLst>
              <a:ext uri="{FF2B5EF4-FFF2-40B4-BE49-F238E27FC236}">
                <a16:creationId xmlns:a16="http://schemas.microsoft.com/office/drawing/2014/main" id="{E884F540-0080-4436-99F9-12F8A49616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EC97D640-6B3B-4482-984E-058A4D573E3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2301875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75105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FB74C79-6B2D-447C-A2E5-85FB3B12B7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37BE5F2-D7FB-4977-8AF7-D18E307485C0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7167D78A-F631-4872-8F60-EFB6C3F3F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C11866A-2BDE-489A-8672-1BDDD2DDC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12BBC8C-A999-4145-8AF2-263B11FCF75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757D08F4-328E-40C1-B69B-14F4437DE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25251DDD-805D-4D26-BF44-4C9F5441C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FC4DAFC4-E681-44F5-B923-1F20567D2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EBAA4CDC-2750-471B-AD22-96D8C847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C2428D3-3B70-4634-A5C7-580330773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3E7E9CD4-A2C5-419E-9B44-13A421281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498E6F53-74C9-452A-9930-4FBABABA0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DBED4D4F-FE8B-4103-97F7-7BFC82163A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3A5F04A-8433-42FB-9FB9-A2B210CE6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A49C6C45-95C3-4970-9C5B-9B96FA94F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154BCEC-D9D2-4955-A59E-FC7B39327B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21BB63CB-D1F9-47F4-BC55-11AD749DA2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2174183-A2C5-4C60-957A-F14A520A72A9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D6366927-90FB-43C4-90DE-8D43A3B8962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98726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Handy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EB09ED1-D2C0-4AA9-B708-2A32DD3781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812776" y="1130300"/>
            <a:ext cx="2293249" cy="4800600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4A93760-5CB7-4A71-88CE-5A17695854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6702" y="686312"/>
            <a:ext cx="4049097" cy="6273288"/>
          </a:xfrm>
          <a:prstGeom prst="rect">
            <a:avLst/>
          </a:prstGeom>
        </p:spPr>
      </p:pic>
      <p:sp>
        <p:nvSpPr>
          <p:cNvPr id="12" name="Bildplatzhalter 47">
            <a:extLst>
              <a:ext uri="{FF2B5EF4-FFF2-40B4-BE49-F238E27FC236}">
                <a16:creationId xmlns:a16="http://schemas.microsoft.com/office/drawing/2014/main" id="{9FFF591E-DE1B-4866-BA8A-50846A0938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8325" y="834258"/>
            <a:ext cx="2235362" cy="4833117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FAA5AB-AF5D-45FC-9331-37CB30DA67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173141E-9A99-413A-8C04-B10CEA60B866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86052F2-2BEC-49E6-B1FD-629E324346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C481FCD-D56C-4922-BAFD-224BE4BC2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1E1623E-C7C8-456D-B712-2ACDFE584EB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id="{358E2997-F269-4B55-819A-BD949E978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576BB871-46F7-4C87-A566-E27C94415E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553D4F3-B8D5-4E12-8C8B-CA8D8E2770C0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27F14C16-9401-415C-8BD8-DEE7D893D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0D470AC2-F14B-419D-9CAB-34FCD7601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D544B772-451B-4E62-A44C-36EEB45F0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F3045032-1089-4088-B9C1-C273C1BDB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F21C82FE-8694-4686-BBB5-827622BDA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44A7E0A4-CDDC-416C-AC69-00FF083A8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9DB17AFF-3E32-4842-B851-1F44A3300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A4A52D1-E196-43E8-A898-BE546078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5E985F5-C685-49A8-AA2F-949F5BFF5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DFBA3D12-4595-491A-9605-D4FFC6707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97F88236-EA43-4029-90D7-41D35FBC1B2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023534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Handy Mo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693E912-CA16-42BD-9B13-E1115EE9611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89F97A2-ABF2-4D64-AA66-7883CE332E97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6" name="Oval 5">
              <a:extLst>
                <a:ext uri="{FF2B5EF4-FFF2-40B4-BE49-F238E27FC236}">
                  <a16:creationId xmlns:a16="http://schemas.microsoft.com/office/drawing/2014/main" id="{66F7C95D-74B4-4F5C-BBA7-91A1AB90B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3D9B1101-3E32-4271-B4DC-D4062FF2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829AB22-8D52-461F-B440-26A77B86CB0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9" name="Freeform 7">
                <a:extLst>
                  <a:ext uri="{FF2B5EF4-FFF2-40B4-BE49-F238E27FC236}">
                    <a16:creationId xmlns:a16="http://schemas.microsoft.com/office/drawing/2014/main" id="{4CF857CC-2901-4F42-9233-853B5D63A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8">
                <a:extLst>
                  <a:ext uri="{FF2B5EF4-FFF2-40B4-BE49-F238E27FC236}">
                    <a16:creationId xmlns:a16="http://schemas.microsoft.com/office/drawing/2014/main" id="{11FE3F05-9217-42BC-80A9-AAC7E6E84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16B3B9FE-F133-438D-AD84-EC5194239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FBD55AD-9814-4F26-B91E-D2C4B929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C30F0D69-4CC1-4454-B748-72DFF851E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0AAA4B98-3BAE-4F2F-872C-6C32595267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07DF6E7-F0CD-4ED2-87FD-6841CDC59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9A456FC8-BDB6-4546-ABF9-E769BDB6F0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C563657-972E-403C-94BC-040D3D7BA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6">
                <a:extLst>
                  <a:ext uri="{FF2B5EF4-FFF2-40B4-BE49-F238E27FC236}">
                    <a16:creationId xmlns:a16="http://schemas.microsoft.com/office/drawing/2014/main" id="{BAFE9A3D-A61B-4444-B4F4-796B96D8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592263"/>
            <a:ext cx="3672850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2EF9841-421F-4152-880D-BBF3BBD10B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E62E8851-2139-484C-8083-3657B73E0C9E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A86F7D5-69CA-4283-8022-108E607FC8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EDD423B-497D-4CCF-A170-87E1DA4963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2346866-6A4B-4F6D-B6A3-C5F9E9CC4A34}"/>
              </a:ext>
            </a:extLst>
          </p:cNvPr>
          <p:cNvSpPr/>
          <p:nvPr/>
        </p:nvSpPr>
        <p:spPr>
          <a:xfrm>
            <a:off x="4799975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5" name="Grafik 1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2ECC125-1D19-463D-901C-78124C18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8932" y="1592263"/>
            <a:ext cx="2562657" cy="3970337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8068B0AF-45C9-4587-80AA-5FB0C48136E6}"/>
              </a:ext>
            </a:extLst>
          </p:cNvPr>
          <p:cNvSpPr/>
          <p:nvPr/>
        </p:nvSpPr>
        <p:spPr>
          <a:xfrm>
            <a:off x="8253833" y="1873261"/>
            <a:ext cx="1451388" cy="3038279"/>
          </a:xfrm>
          <a:prstGeom prst="roundRect">
            <a:avLst>
              <a:gd name="adj" fmla="val 12236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EA724CD-CCCA-40EB-9BBF-7E7FF8A98E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790" y="1592263"/>
            <a:ext cx="2562657" cy="3970337"/>
          </a:xfrm>
          <a:prstGeom prst="rect">
            <a:avLst/>
          </a:prstGeom>
        </p:spPr>
      </p:pic>
      <p:sp>
        <p:nvSpPr>
          <p:cNvPr id="35" name="Bildplatzhalter 47">
            <a:extLst>
              <a:ext uri="{FF2B5EF4-FFF2-40B4-BE49-F238E27FC236}">
                <a16:creationId xmlns:a16="http://schemas.microsoft.com/office/drawing/2014/main" id="{491BA93E-E5F3-48AC-A3BA-B7D4CD7DBEC5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5037658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7" name="Bildplatzhalter 47">
            <a:extLst>
              <a:ext uri="{FF2B5EF4-FFF2-40B4-BE49-F238E27FC236}">
                <a16:creationId xmlns:a16="http://schemas.microsoft.com/office/drawing/2014/main" id="{574E156E-CBCD-45CF-AAC9-84D35B20AAC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491516" y="1685897"/>
            <a:ext cx="1414752" cy="3055001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C0A94FD5-C278-4C7F-A805-75DA9B93B8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43474" y="5149895"/>
            <a:ext cx="2228035" cy="412706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5676D185-2C51-4F27-B9D6-5A1E42D749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1051" y="5149895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21" name="Textplatzhalter 28">
            <a:extLst>
              <a:ext uri="{FF2B5EF4-FFF2-40B4-BE49-F238E27FC236}">
                <a16:creationId xmlns:a16="http://schemas.microsoft.com/office/drawing/2014/main" id="{43C8CC5A-2B84-4101-830B-BCD94185DE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43474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C3041C11-8D41-447B-B837-FF9F7E94DC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1" y="5562601"/>
            <a:ext cx="2665414" cy="711199"/>
          </a:xfrm>
        </p:spPr>
        <p:txBody>
          <a:bodyPr anchor="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2" name="Untertitel 2">
            <a:extLst>
              <a:ext uri="{FF2B5EF4-FFF2-40B4-BE49-F238E27FC236}">
                <a16:creationId xmlns:a16="http://schemas.microsoft.com/office/drawing/2014/main" id="{B04FDCBC-2809-43F8-B841-D7DD67681EB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149171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BAD125F8-A201-4843-B9C3-EE473EBCF28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5 w 12192000"/>
              <a:gd name="connsiteY3" fmla="*/ 6858000 h 6858000"/>
              <a:gd name="connsiteX4" fmla="*/ 12191995 w 12192000"/>
              <a:gd name="connsiteY4" fmla="*/ 6248399 h 6858000"/>
              <a:gd name="connsiteX5" fmla="*/ 1319758 w 12192000"/>
              <a:gd name="connsiteY5" fmla="*/ 6248399 h 6858000"/>
              <a:gd name="connsiteX6" fmla="*/ 418902 w 12192000"/>
              <a:gd name="connsiteY6" fmla="*/ 6727381 h 6858000"/>
              <a:gd name="connsiteX7" fmla="*/ 34800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5" y="6858000"/>
                </a:lnTo>
                <a:lnTo>
                  <a:pt x="12191995" y="6248399"/>
                </a:lnTo>
                <a:lnTo>
                  <a:pt x="1319758" y="6248399"/>
                </a:lnTo>
                <a:cubicBezTo>
                  <a:pt x="944758" y="6248399"/>
                  <a:pt x="614135" y="6438398"/>
                  <a:pt x="418902" y="6727381"/>
                </a:cubicBezTo>
                <a:lnTo>
                  <a:pt x="34800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824B22F2-4CA8-4D6F-A1C0-EA80845E57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30E97F4-C217-4BA2-8F72-C0A2F1385488}"/>
              </a:ext>
            </a:extLst>
          </p:cNvPr>
          <p:cNvSpPr/>
          <p:nvPr/>
        </p:nvSpPr>
        <p:spPr>
          <a:xfrm flipH="1">
            <a:off x="544131" y="6112552"/>
            <a:ext cx="11658443" cy="756028"/>
          </a:xfrm>
          <a:custGeom>
            <a:avLst/>
            <a:gdLst>
              <a:gd name="connsiteX0" fmla="*/ 10720524 w 11658443"/>
              <a:gd name="connsiteY0" fmla="*/ 0 h 756028"/>
              <a:gd name="connsiteX1" fmla="*/ 0 w 11658443"/>
              <a:gd name="connsiteY1" fmla="*/ 0 h 756028"/>
              <a:gd name="connsiteX2" fmla="*/ 0 w 11658443"/>
              <a:gd name="connsiteY2" fmla="*/ 756028 h 756028"/>
              <a:gd name="connsiteX3" fmla="*/ 11658443 w 11658443"/>
              <a:gd name="connsiteY3" fmla="*/ 756028 h 756028"/>
              <a:gd name="connsiteX4" fmla="*/ 11605940 w 11658443"/>
              <a:gd name="connsiteY4" fmla="*/ 586893 h 756028"/>
              <a:gd name="connsiteX5" fmla="*/ 10720524 w 11658443"/>
              <a:gd name="connsiteY5" fmla="*/ 0 h 756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58443" h="756028">
                <a:moveTo>
                  <a:pt x="10720524" y="0"/>
                </a:moveTo>
                <a:lnTo>
                  <a:pt x="0" y="0"/>
                </a:lnTo>
                <a:lnTo>
                  <a:pt x="0" y="756028"/>
                </a:lnTo>
                <a:lnTo>
                  <a:pt x="11658443" y="756028"/>
                </a:lnTo>
                <a:lnTo>
                  <a:pt x="11605940" y="586893"/>
                </a:lnTo>
                <a:cubicBezTo>
                  <a:pt x="11460063" y="242001"/>
                  <a:pt x="11118555" y="0"/>
                  <a:pt x="10720524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1C8B4150-817E-4B8E-916F-E8B46846C4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1592263"/>
            <a:ext cx="4608512" cy="36734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6F1EDE-07DF-43AB-8A65-661E3310C7DD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E1693C54-214A-467B-94D9-3C6EEBB7A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0FD036F-A46D-4314-8131-39D809908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4D8268D6-65FC-417B-BB85-D567682934A8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172BB35-8858-49CD-96AE-FDCEE59F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F340F6B4-1EFA-483F-B118-558F6661B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67E7091C-7DB4-4F54-8BD2-10E16CA70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4AC1E5B1-8B93-4B6A-9CE2-8CE4650B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B1F3E871-E4D3-47AC-AB4F-2FD7CE3DC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CCC5F6CC-254D-4796-85D0-A82C55A1B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D01066B0-8E74-4F18-86ED-E60684F2B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EC483BAE-FA8E-412F-B79A-2DCC30C26B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EE2F4D82-F828-4479-AF1C-2DCE4FC55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8A1DBB14-E57E-4B1F-A22A-35FA04000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5F6429-6903-4DFA-8711-34C3DBEF5FF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880A0DB-9EB5-48C7-AD67-890A6777CFEC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01C9B1-F32F-4DD5-92C2-59AA306A34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5DA77D9-60AF-4B23-A340-0E478ACD3C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2144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CCD9FFDD-9BB5-4BE1-84EB-7A062A112EC5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5761037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770" t="2076" r="21396"/>
          <a:stretch/>
        </p:blipFill>
        <p:spPr>
          <a:xfrm>
            <a:off x="4943475" y="0"/>
            <a:ext cx="7248525" cy="67156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7176DD0E-9929-4538-ACFB-E458064BEE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F046A4E-A7EE-43C3-AE0C-E5F07D5708B9}" type="datetime1">
              <a:rPr lang="de-DE" smtClean="0"/>
              <a:t>2022-05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E9E8ECA-2D12-46E2-8C00-0D84AE7CF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25A6720-D3C1-4E2C-85FF-10DE442AAA0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2D7A1028-999B-4854-BF34-82DF67E307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478689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2C37800F-9453-4EDC-97E8-0481E758488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7023099 w 12192000"/>
              <a:gd name="connsiteY3" fmla="*/ 3429000 h 6858000"/>
              <a:gd name="connsiteX4" fmla="*/ 6096000 w 12192000"/>
              <a:gd name="connsiteY4" fmla="*/ 4356099 h 6858000"/>
              <a:gd name="connsiteX5" fmla="*/ 6096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7023099" y="3429000"/>
                </a:lnTo>
                <a:cubicBezTo>
                  <a:pt x="6511076" y="3429000"/>
                  <a:pt x="6096000" y="3844076"/>
                  <a:pt x="6096000" y="4356099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D91D1079-02E6-4EE8-A91C-F142EC979198}"/>
              </a:ext>
            </a:extLst>
          </p:cNvPr>
          <p:cNvSpPr/>
          <p:nvPr userDrawn="1"/>
        </p:nvSpPr>
        <p:spPr>
          <a:xfrm>
            <a:off x="7039363" y="883805"/>
            <a:ext cx="3838704" cy="5024482"/>
          </a:xfrm>
          <a:prstGeom prst="roundRect">
            <a:avLst>
              <a:gd name="adj" fmla="val 786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3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10447DE-E9B1-426F-82A5-E201443FF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399" t="2076" r="21395"/>
          <a:stretch/>
        </p:blipFill>
        <p:spPr>
          <a:xfrm>
            <a:off x="4583113" y="0"/>
            <a:ext cx="7608887" cy="6715642"/>
          </a:xfrm>
          <a:prstGeom prst="rect">
            <a:avLst/>
          </a:prstGeom>
          <a:ln>
            <a:noFill/>
          </a:ln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034FB8A-2730-47DE-9C0C-033D8CB058B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46951" y="863600"/>
            <a:ext cx="3540124" cy="4718049"/>
          </a:xfrm>
          <a:prstGeom prst="roundRect">
            <a:avLst>
              <a:gd name="adj" fmla="val 1667"/>
            </a:avLst>
          </a:prstGeo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E2E0E08-E5AC-46D2-99B4-35BA98B72A2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02619E4E-FD06-4E47-B792-DB6BA4BB0607}" type="datetime1">
              <a:rPr lang="de-DE" smtClean="0"/>
              <a:t>2022-05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3D9E1DE6-5FAE-435F-8AB8-2D86709EE6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E4286F4-D689-4FFC-91E4-90B2645B9A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6753097-1DB3-419A-91AC-D5B72E871A6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D9D85354-3FEE-4119-853F-144599874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D487532-8521-417D-A048-8C4669F44C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9BD55D0F-593D-4A0D-BDE4-5B4526B1B436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88A73487-47E1-40BC-8038-B766B67D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766DB691-F432-4C12-AD93-97CDBC511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5B123C74-CC3A-4AD1-9730-E708E9E6C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23C307AD-317D-49F1-A441-ED1F085F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32A47BD3-B6FB-4D5B-8877-027C93A60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9CA9328C-1744-4387-B2F3-894A3FDF2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A9FB15DC-2278-452D-9B77-04B672B9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7F9A4067-A3D0-46C1-A9A2-E06E9AE5E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28C6CDC7-E6AB-4633-989A-4AA770A64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E6F3B9CD-F6AE-4110-B914-353C62751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Untertitel 2">
            <a:extLst>
              <a:ext uri="{FF2B5EF4-FFF2-40B4-BE49-F238E27FC236}">
                <a16:creationId xmlns:a16="http://schemas.microsoft.com/office/drawing/2014/main" id="{A296AC21-E0D0-4C91-908F-3BC0678ED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984258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Handy Mock Up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42E96BDD-39A8-4207-B404-F1369215241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605338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2" name="Grafik 11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A77D189-6797-4577-BAA8-586C620A04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3D237B3-D03E-4E3B-843B-878E7432337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5015CD4-1974-4F03-9B35-67DE44B46B28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3117FBB9-DB8A-40F5-931C-028B0F88F9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7715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iPad Mock Up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5BC63CF1-AB2D-493B-90A3-E2C49E60720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429000 h 6858000"/>
              <a:gd name="connsiteX3" fmla="*/ 5883844 w 12192000"/>
              <a:gd name="connsiteY3" fmla="*/ 3429000 h 6858000"/>
              <a:gd name="connsiteX4" fmla="*/ 4943475 w 12192000"/>
              <a:gd name="connsiteY4" fmla="*/ 4369369 h 6858000"/>
              <a:gd name="connsiteX5" fmla="*/ 4943475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5883844" y="3429000"/>
                </a:lnTo>
                <a:cubicBezTo>
                  <a:pt x="5364493" y="3429000"/>
                  <a:pt x="4943475" y="3850018"/>
                  <a:pt x="4943475" y="4369369"/>
                </a:cubicBezTo>
                <a:lnTo>
                  <a:pt x="49434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936841C3-C392-43BC-AF60-72446A294FA0}"/>
              </a:ext>
            </a:extLst>
          </p:cNvPr>
          <p:cNvSpPr/>
          <p:nvPr userDrawn="1"/>
        </p:nvSpPr>
        <p:spPr>
          <a:xfrm flipH="1">
            <a:off x="5099343" y="3213933"/>
            <a:ext cx="7170708" cy="3748842"/>
          </a:xfrm>
          <a:custGeom>
            <a:avLst/>
            <a:gdLst>
              <a:gd name="connsiteX0" fmla="*/ 6132037 w 7170708"/>
              <a:gd name="connsiteY0" fmla="*/ 0 h 3748842"/>
              <a:gd name="connsiteX1" fmla="*/ 0 w 7170708"/>
              <a:gd name="connsiteY1" fmla="*/ 0 h 3748842"/>
              <a:gd name="connsiteX2" fmla="*/ 0 w 7170708"/>
              <a:gd name="connsiteY2" fmla="*/ 3748842 h 3748842"/>
              <a:gd name="connsiteX3" fmla="*/ 7170708 w 7170708"/>
              <a:gd name="connsiteY3" fmla="*/ 3748842 h 3748842"/>
              <a:gd name="connsiteX4" fmla="*/ 7170708 w 7170708"/>
              <a:gd name="connsiteY4" fmla="*/ 1038671 h 3748842"/>
              <a:gd name="connsiteX5" fmla="*/ 6132037 w 7170708"/>
              <a:gd name="connsiteY5" fmla="*/ 0 h 374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70708" h="3748842">
                <a:moveTo>
                  <a:pt x="6132037" y="0"/>
                </a:moveTo>
                <a:lnTo>
                  <a:pt x="0" y="0"/>
                </a:lnTo>
                <a:lnTo>
                  <a:pt x="0" y="3748842"/>
                </a:lnTo>
                <a:lnTo>
                  <a:pt x="7170708" y="3748842"/>
                </a:lnTo>
                <a:lnTo>
                  <a:pt x="7170708" y="1038671"/>
                </a:lnTo>
                <a:cubicBezTo>
                  <a:pt x="7170708" y="465029"/>
                  <a:pt x="6705679" y="0"/>
                  <a:pt x="613203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8138" y="1592263"/>
            <a:ext cx="4244975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pic>
        <p:nvPicPr>
          <p:cNvPr id="17" name="Grafik 16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F975FC98-9C9A-4B54-BAA5-D026FFF13A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56" t="1596" r="17397" b="11922"/>
          <a:stretch/>
        </p:blipFill>
        <p:spPr>
          <a:xfrm>
            <a:off x="4664075" y="927099"/>
            <a:ext cx="7248525" cy="5930901"/>
          </a:xfrm>
          <a:prstGeom prst="rect">
            <a:avLst/>
          </a:prstGeom>
        </p:spPr>
      </p:pic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FAC29CB-6258-49F1-AEFE-48C4C763D5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13450" y="2308224"/>
            <a:ext cx="4924425" cy="3073401"/>
          </a:xfrm>
          <a:solidFill>
            <a:schemeClr val="accent6"/>
          </a:solidFill>
        </p:spPr>
        <p:txBody>
          <a:bodyPr bIns="720000" anchor="ctr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7A6C8F5-0559-4B3D-A642-2C4638D4E8E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4F7990C-D606-412B-BBCE-5881E5B459EE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9C13510-10A4-41C5-8ACF-EB970AA0B7A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8607A9F-7336-4B10-9A47-B08A47C901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FED8C54-FAC3-4862-9B8D-DE240B68C89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5" cy="635012"/>
          </a:xfrm>
        </p:grpSpPr>
        <p:sp>
          <p:nvSpPr>
            <p:cNvPr id="12" name="Oval 5">
              <a:extLst>
                <a:ext uri="{FF2B5EF4-FFF2-40B4-BE49-F238E27FC236}">
                  <a16:creationId xmlns:a16="http://schemas.microsoft.com/office/drawing/2014/main" id="{618A242A-4252-4D1B-815B-B50970AB9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2F15D90-51AE-42BE-9523-CD3B8E332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26A914C2-F17F-4D57-BA1C-16F80E685638}"/>
                </a:ext>
              </a:extLst>
            </p:cNvPr>
            <p:cNvGrpSpPr/>
            <p:nvPr/>
          </p:nvGrpSpPr>
          <p:grpSpPr>
            <a:xfrm>
              <a:off x="1311216" y="1530579"/>
              <a:ext cx="1533582" cy="307590"/>
              <a:chOff x="3987943" y="2307132"/>
              <a:chExt cx="2607166" cy="522910"/>
            </a:xfrm>
          </p:grpSpPr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4E7333A9-F536-43FC-ABA8-4A162CBE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313E2420-E184-49F6-8BFA-375E9544E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01C04114-EC10-47A0-81C9-9838F741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8643CAF3-5E79-4D28-B7EB-070C2194D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2295F6D0-883B-49BE-B001-CED3629ED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C0F5639-ECB9-4517-8CDE-69479470C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159270D-DF8D-4AC3-8363-CCAC82EF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38301C80-BCB6-4108-9076-400D64B6E5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D0B10E0F-1854-4556-B36F-842D6CD8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DB35A381-AE18-43BE-A680-D2E07150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9" name="Untertitel 2">
            <a:extLst>
              <a:ext uri="{FF2B5EF4-FFF2-40B4-BE49-F238E27FC236}">
                <a16:creationId xmlns:a16="http://schemas.microsoft.com/office/drawing/2014/main" id="{7348B35B-FEE6-4F6B-A663-190AD0ABB1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733855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C6045785-0D42-49CF-BB17-6F6A45D60050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4605337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70EB910-E9BB-4098-920D-18DAC1BCAF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A4727929-A249-4E4A-B25D-A52D03EE378B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F2F0E9D-60A9-4F53-BA09-C1D4CC7AA0F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AA1933-32F6-413A-B222-EEFB93717F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Grafik 12" descr="Ein Bild, das Screenshot, Laptop, Monitor, Computer enthält.&#10;&#10;Automatisch generierte Beschreibung">
            <a:extLst>
              <a:ext uri="{FF2B5EF4-FFF2-40B4-BE49-F238E27FC236}">
                <a16:creationId xmlns:a16="http://schemas.microsoft.com/office/drawing/2014/main" id="{274B7DAE-D42C-43A7-AB86-58AE8C7116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56" t="17496" r="17397" b="11922"/>
          <a:stretch/>
        </p:blipFill>
        <p:spPr>
          <a:xfrm>
            <a:off x="603314" y="1544713"/>
            <a:ext cx="8079717" cy="539549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4DE50EBE-0732-4A1B-8ED1-6A2DB92F9F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96" t="11127" r="28438"/>
          <a:stretch/>
        </p:blipFill>
        <p:spPr>
          <a:xfrm>
            <a:off x="5929809" y="2113191"/>
            <a:ext cx="5024002" cy="4827021"/>
          </a:xfrm>
          <a:prstGeom prst="rect">
            <a:avLst/>
          </a:prstGeom>
        </p:spPr>
      </p:pic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A7F5975-2F43-434A-A628-CA5A5F191F87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107423" y="1868711"/>
            <a:ext cx="5489111" cy="3425829"/>
          </a:xfrm>
          <a:custGeom>
            <a:avLst/>
            <a:gdLst>
              <a:gd name="connsiteX0" fmla="*/ 0 w 5489111"/>
              <a:gd name="connsiteY0" fmla="*/ 0 h 3425829"/>
              <a:gd name="connsiteX1" fmla="*/ 5489111 w 5489111"/>
              <a:gd name="connsiteY1" fmla="*/ 0 h 3425829"/>
              <a:gd name="connsiteX2" fmla="*/ 5489111 w 5489111"/>
              <a:gd name="connsiteY2" fmla="*/ 2258813 h 3425829"/>
              <a:gd name="connsiteX3" fmla="*/ 4839123 w 5489111"/>
              <a:gd name="connsiteY3" fmla="*/ 2258788 h 3425829"/>
              <a:gd name="connsiteX4" fmla="*/ 4750322 w 5489111"/>
              <a:gd name="connsiteY4" fmla="*/ 2284867 h 3425829"/>
              <a:gd name="connsiteX5" fmla="*/ 4682035 w 5489111"/>
              <a:gd name="connsiteY5" fmla="*/ 2398573 h 3425829"/>
              <a:gd name="connsiteX6" fmla="*/ 4681617 w 5489111"/>
              <a:gd name="connsiteY6" fmla="*/ 2410092 h 3425829"/>
              <a:gd name="connsiteX7" fmla="*/ 4681599 w 5489111"/>
              <a:gd name="connsiteY7" fmla="*/ 2572763 h 3425829"/>
              <a:gd name="connsiteX8" fmla="*/ 4681599 w 5489111"/>
              <a:gd name="connsiteY8" fmla="*/ 2579897 h 3425829"/>
              <a:gd name="connsiteX9" fmla="*/ 4676100 w 5489111"/>
              <a:gd name="connsiteY9" fmla="*/ 2588768 h 3425829"/>
              <a:gd name="connsiteX10" fmla="*/ 4676142 w 5489111"/>
              <a:gd name="connsiteY10" fmla="*/ 2659787 h 3425829"/>
              <a:gd name="connsiteX11" fmla="*/ 4681095 w 5489111"/>
              <a:gd name="connsiteY11" fmla="*/ 2666770 h 3425829"/>
              <a:gd name="connsiteX12" fmla="*/ 4681095 w 5489111"/>
              <a:gd name="connsiteY12" fmla="*/ 2741680 h 3425829"/>
              <a:gd name="connsiteX13" fmla="*/ 4671996 w 5489111"/>
              <a:gd name="connsiteY13" fmla="*/ 2745494 h 3425829"/>
              <a:gd name="connsiteX14" fmla="*/ 4671996 w 5489111"/>
              <a:gd name="connsiteY14" fmla="*/ 2885114 h 3425829"/>
              <a:gd name="connsiteX15" fmla="*/ 4681174 w 5489111"/>
              <a:gd name="connsiteY15" fmla="*/ 2889262 h 3425829"/>
              <a:gd name="connsiteX16" fmla="*/ 4681174 w 5489111"/>
              <a:gd name="connsiteY16" fmla="*/ 2924571 h 3425829"/>
              <a:gd name="connsiteX17" fmla="*/ 4671996 w 5489111"/>
              <a:gd name="connsiteY17" fmla="*/ 2928815 h 3425829"/>
              <a:gd name="connsiteX18" fmla="*/ 4671996 w 5489111"/>
              <a:gd name="connsiteY18" fmla="*/ 3068437 h 3425829"/>
              <a:gd name="connsiteX19" fmla="*/ 4681599 w 5489111"/>
              <a:gd name="connsiteY19" fmla="*/ 3071891 h 3425829"/>
              <a:gd name="connsiteX20" fmla="*/ 4681599 w 5489111"/>
              <a:gd name="connsiteY20" fmla="*/ 3079742 h 3425829"/>
              <a:gd name="connsiteX21" fmla="*/ 4681532 w 5489111"/>
              <a:gd name="connsiteY21" fmla="*/ 3425829 h 3425829"/>
              <a:gd name="connsiteX22" fmla="*/ 0 w 5489111"/>
              <a:gd name="connsiteY22" fmla="*/ 3425829 h 3425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489111" h="3425829">
                <a:moveTo>
                  <a:pt x="0" y="0"/>
                </a:moveTo>
                <a:lnTo>
                  <a:pt x="5489111" y="0"/>
                </a:lnTo>
                <a:lnTo>
                  <a:pt x="5489111" y="2258813"/>
                </a:lnTo>
                <a:lnTo>
                  <a:pt x="4839123" y="2258788"/>
                </a:lnTo>
                <a:cubicBezTo>
                  <a:pt x="4806911" y="2258782"/>
                  <a:pt x="4777017" y="2266657"/>
                  <a:pt x="4750322" y="2284867"/>
                </a:cubicBezTo>
                <a:cubicBezTo>
                  <a:pt x="4710224" y="2312222"/>
                  <a:pt x="4687553" y="2350312"/>
                  <a:pt x="4682035" y="2398573"/>
                </a:cubicBezTo>
                <a:cubicBezTo>
                  <a:pt x="4681605" y="2402380"/>
                  <a:pt x="4681617" y="2406254"/>
                  <a:pt x="4681617" y="2410092"/>
                </a:cubicBezTo>
                <a:cubicBezTo>
                  <a:pt x="4681592" y="2464315"/>
                  <a:pt x="4681599" y="2518539"/>
                  <a:pt x="4681599" y="2572763"/>
                </a:cubicBezTo>
                <a:cubicBezTo>
                  <a:pt x="4681599" y="2574979"/>
                  <a:pt x="4681599" y="2577201"/>
                  <a:pt x="4681599" y="2579897"/>
                </a:cubicBezTo>
                <a:cubicBezTo>
                  <a:pt x="4676639" y="2580856"/>
                  <a:pt x="4676063" y="2584293"/>
                  <a:pt x="4676100" y="2588768"/>
                </a:cubicBezTo>
                <a:cubicBezTo>
                  <a:pt x="4676299" y="2612437"/>
                  <a:pt x="4676245" y="2636112"/>
                  <a:pt x="4676142" y="2659787"/>
                </a:cubicBezTo>
                <a:cubicBezTo>
                  <a:pt x="4676123" y="2663448"/>
                  <a:pt x="4676767" y="2666223"/>
                  <a:pt x="4681095" y="2666770"/>
                </a:cubicBezTo>
                <a:cubicBezTo>
                  <a:pt x="4681095" y="2691993"/>
                  <a:pt x="4681095" y="2716992"/>
                  <a:pt x="4681095" y="2741680"/>
                </a:cubicBezTo>
                <a:cubicBezTo>
                  <a:pt x="4677805" y="2743059"/>
                  <a:pt x="4674904" y="2744274"/>
                  <a:pt x="4671996" y="2745494"/>
                </a:cubicBezTo>
                <a:cubicBezTo>
                  <a:pt x="4671996" y="2792037"/>
                  <a:pt x="4671996" y="2838573"/>
                  <a:pt x="4671996" y="2885114"/>
                </a:cubicBezTo>
                <a:cubicBezTo>
                  <a:pt x="4674843" y="2886402"/>
                  <a:pt x="4677690" y="2887696"/>
                  <a:pt x="4681174" y="2889262"/>
                </a:cubicBezTo>
                <a:cubicBezTo>
                  <a:pt x="4681174" y="2900684"/>
                  <a:pt x="4681174" y="2912821"/>
                  <a:pt x="4681174" y="2924571"/>
                </a:cubicBezTo>
                <a:cubicBezTo>
                  <a:pt x="4678000" y="2926041"/>
                  <a:pt x="4675000" y="2927425"/>
                  <a:pt x="4671996" y="2928815"/>
                </a:cubicBezTo>
                <a:cubicBezTo>
                  <a:pt x="4671996" y="2975358"/>
                  <a:pt x="4671996" y="3021894"/>
                  <a:pt x="4671996" y="3068437"/>
                </a:cubicBezTo>
                <a:cubicBezTo>
                  <a:pt x="4674946" y="3069499"/>
                  <a:pt x="4677902" y="3070562"/>
                  <a:pt x="4681599" y="3071891"/>
                </a:cubicBezTo>
                <a:cubicBezTo>
                  <a:pt x="4681599" y="3074150"/>
                  <a:pt x="4681599" y="3076950"/>
                  <a:pt x="4681599" y="3079742"/>
                </a:cubicBezTo>
                <a:lnTo>
                  <a:pt x="4681532" y="3425829"/>
                </a:lnTo>
                <a:lnTo>
                  <a:pt x="0" y="342582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01B8DF7D-187D-4366-AAFF-1729A720A2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12602" y="2305552"/>
            <a:ext cx="2803684" cy="3736569"/>
          </a:xfrm>
          <a:custGeom>
            <a:avLst/>
            <a:gdLst>
              <a:gd name="connsiteX0" fmla="*/ 50578 w 2803684"/>
              <a:gd name="connsiteY0" fmla="*/ 0 h 3736569"/>
              <a:gd name="connsiteX1" fmla="*/ 2753106 w 2803684"/>
              <a:gd name="connsiteY1" fmla="*/ 0 h 3736569"/>
              <a:gd name="connsiteX2" fmla="*/ 2803684 w 2803684"/>
              <a:gd name="connsiteY2" fmla="*/ 50578 h 3736569"/>
              <a:gd name="connsiteX3" fmla="*/ 2803684 w 2803684"/>
              <a:gd name="connsiteY3" fmla="*/ 3685991 h 3736569"/>
              <a:gd name="connsiteX4" fmla="*/ 2753106 w 2803684"/>
              <a:gd name="connsiteY4" fmla="*/ 3736569 h 3736569"/>
              <a:gd name="connsiteX5" fmla="*/ 162509 w 2803684"/>
              <a:gd name="connsiteY5" fmla="*/ 3736569 h 3736569"/>
              <a:gd name="connsiteX6" fmla="*/ 162509 w 2803684"/>
              <a:gd name="connsiteY6" fmla="*/ 2607094 h 3736569"/>
              <a:gd name="connsiteX7" fmla="*/ 162509 w 2803684"/>
              <a:gd name="connsiteY7" fmla="*/ 2598290 h 3736569"/>
              <a:gd name="connsiteX8" fmla="*/ 163607 w 2803684"/>
              <a:gd name="connsiteY8" fmla="*/ 2597173 h 3736569"/>
              <a:gd name="connsiteX9" fmla="*/ 170921 w 2803684"/>
              <a:gd name="connsiteY9" fmla="*/ 2588040 h 3736569"/>
              <a:gd name="connsiteX10" fmla="*/ 170921 w 2803684"/>
              <a:gd name="connsiteY10" fmla="*/ 2317324 h 3736569"/>
              <a:gd name="connsiteX11" fmla="*/ 162502 w 2803684"/>
              <a:gd name="connsiteY11" fmla="*/ 2307008 h 3736569"/>
              <a:gd name="connsiteX12" fmla="*/ 162502 w 2803684"/>
              <a:gd name="connsiteY12" fmla="*/ 2299369 h 3736569"/>
              <a:gd name="connsiteX13" fmla="*/ 162435 w 2803684"/>
              <a:gd name="connsiteY13" fmla="*/ 1976451 h 3736569"/>
              <a:gd name="connsiteX14" fmla="*/ 116232 w 2803684"/>
              <a:gd name="connsiteY14" fmla="*/ 1866480 h 3736569"/>
              <a:gd name="connsiteX15" fmla="*/ 10999 w 2803684"/>
              <a:gd name="connsiteY15" fmla="*/ 1822020 h 3736569"/>
              <a:gd name="connsiteX16" fmla="*/ 4935 w 2803684"/>
              <a:gd name="connsiteY16" fmla="*/ 1821977 h 3736569"/>
              <a:gd name="connsiteX17" fmla="*/ 0 w 2803684"/>
              <a:gd name="connsiteY17" fmla="*/ 1821977 h 3736569"/>
              <a:gd name="connsiteX18" fmla="*/ 0 w 2803684"/>
              <a:gd name="connsiteY18" fmla="*/ 50578 h 3736569"/>
              <a:gd name="connsiteX19" fmla="*/ 50578 w 2803684"/>
              <a:gd name="connsiteY19" fmla="*/ 0 h 373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803684" h="3736569">
                <a:moveTo>
                  <a:pt x="50578" y="0"/>
                </a:moveTo>
                <a:lnTo>
                  <a:pt x="2753106" y="0"/>
                </a:lnTo>
                <a:cubicBezTo>
                  <a:pt x="2781039" y="0"/>
                  <a:pt x="2803684" y="22645"/>
                  <a:pt x="2803684" y="50578"/>
                </a:cubicBezTo>
                <a:lnTo>
                  <a:pt x="2803684" y="3685991"/>
                </a:lnTo>
                <a:cubicBezTo>
                  <a:pt x="2803684" y="3713924"/>
                  <a:pt x="2781039" y="3736569"/>
                  <a:pt x="2753106" y="3736569"/>
                </a:cubicBezTo>
                <a:lnTo>
                  <a:pt x="162509" y="3736569"/>
                </a:lnTo>
                <a:lnTo>
                  <a:pt x="162509" y="2607094"/>
                </a:lnTo>
                <a:cubicBezTo>
                  <a:pt x="162509" y="2604064"/>
                  <a:pt x="162509" y="2601040"/>
                  <a:pt x="162509" y="2598290"/>
                </a:cubicBezTo>
                <a:cubicBezTo>
                  <a:pt x="163048" y="2597719"/>
                  <a:pt x="163279" y="2597252"/>
                  <a:pt x="163607" y="2597173"/>
                </a:cubicBezTo>
                <a:cubicBezTo>
                  <a:pt x="170903" y="2595448"/>
                  <a:pt x="170921" y="2595460"/>
                  <a:pt x="170921" y="2588040"/>
                </a:cubicBezTo>
                <a:cubicBezTo>
                  <a:pt x="170927" y="2497804"/>
                  <a:pt x="170921" y="2407560"/>
                  <a:pt x="170921" y="2317324"/>
                </a:cubicBezTo>
                <a:cubicBezTo>
                  <a:pt x="170921" y="2309230"/>
                  <a:pt x="170909" y="2309230"/>
                  <a:pt x="162502" y="2307008"/>
                </a:cubicBezTo>
                <a:cubicBezTo>
                  <a:pt x="162502" y="2304560"/>
                  <a:pt x="162502" y="2301961"/>
                  <a:pt x="162502" y="2299369"/>
                </a:cubicBezTo>
                <a:cubicBezTo>
                  <a:pt x="162496" y="2191729"/>
                  <a:pt x="162624" y="2084090"/>
                  <a:pt x="162435" y="1976451"/>
                </a:cubicBezTo>
                <a:cubicBezTo>
                  <a:pt x="162363" y="1933485"/>
                  <a:pt x="146733" y="1896621"/>
                  <a:pt x="116232" y="1866480"/>
                </a:cubicBezTo>
                <a:cubicBezTo>
                  <a:pt x="87181" y="1837771"/>
                  <a:pt x="51752" y="1823380"/>
                  <a:pt x="10999" y="1822020"/>
                </a:cubicBezTo>
                <a:cubicBezTo>
                  <a:pt x="8978" y="1821953"/>
                  <a:pt x="6957" y="1821977"/>
                  <a:pt x="4935" y="1821977"/>
                </a:cubicBezTo>
                <a:lnTo>
                  <a:pt x="0" y="1821977"/>
                </a:lnTo>
                <a:lnTo>
                  <a:pt x="0" y="50578"/>
                </a:lnTo>
                <a:cubicBezTo>
                  <a:pt x="0" y="22645"/>
                  <a:pt x="22645" y="0"/>
                  <a:pt x="5057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pic>
        <p:nvPicPr>
          <p:cNvPr id="20" name="Grafik 1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20ED33-6FFC-499F-AF20-DFC3D1411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1937" y="4121602"/>
            <a:ext cx="1750019" cy="2711314"/>
          </a:xfrm>
          <a:prstGeom prst="rect">
            <a:avLst/>
          </a:prstGeom>
        </p:spPr>
      </p:pic>
      <p:sp>
        <p:nvSpPr>
          <p:cNvPr id="26" name="Bildplatzhalter 47">
            <a:extLst>
              <a:ext uri="{FF2B5EF4-FFF2-40B4-BE49-F238E27FC236}">
                <a16:creationId xmlns:a16="http://schemas.microsoft.com/office/drawing/2014/main" id="{E0128E7F-A8D7-4916-93FD-7AB5101C9F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849328" y="4185544"/>
            <a:ext cx="966123" cy="2086238"/>
          </a:xfrm>
          <a:custGeom>
            <a:avLst/>
            <a:gdLst>
              <a:gd name="connsiteX0" fmla="*/ 256263 w 3151188"/>
              <a:gd name="connsiteY0" fmla="*/ 0 h 6858000"/>
              <a:gd name="connsiteX1" fmla="*/ 664594 w 3151188"/>
              <a:gd name="connsiteY1" fmla="*/ 0 h 6858000"/>
              <a:gd name="connsiteX2" fmla="*/ 687122 w 3151188"/>
              <a:gd name="connsiteY2" fmla="*/ 25306 h 6858000"/>
              <a:gd name="connsiteX3" fmla="*/ 689939 w 3151188"/>
              <a:gd name="connsiteY3" fmla="*/ 73107 h 6858000"/>
              <a:gd name="connsiteX4" fmla="*/ 878616 w 3151188"/>
              <a:gd name="connsiteY4" fmla="*/ 247439 h 6858000"/>
              <a:gd name="connsiteX5" fmla="*/ 1577002 w 3151188"/>
              <a:gd name="connsiteY5" fmla="*/ 247439 h 6858000"/>
              <a:gd name="connsiteX6" fmla="*/ 2272573 w 3151188"/>
              <a:gd name="connsiteY6" fmla="*/ 247439 h 6858000"/>
              <a:gd name="connsiteX7" fmla="*/ 2461250 w 3151188"/>
              <a:gd name="connsiteY7" fmla="*/ 73107 h 6858000"/>
              <a:gd name="connsiteX8" fmla="*/ 2464066 w 3151188"/>
              <a:gd name="connsiteY8" fmla="*/ 25306 h 6858000"/>
              <a:gd name="connsiteX9" fmla="*/ 2486594 w 3151188"/>
              <a:gd name="connsiteY9" fmla="*/ 0 h 6858000"/>
              <a:gd name="connsiteX10" fmla="*/ 2894925 w 3151188"/>
              <a:gd name="connsiteY10" fmla="*/ 0 h 6858000"/>
              <a:gd name="connsiteX11" fmla="*/ 3151188 w 3151188"/>
              <a:gd name="connsiteY11" fmla="*/ 306487 h 6858000"/>
              <a:gd name="connsiteX12" fmla="*/ 3151188 w 3151188"/>
              <a:gd name="connsiteY12" fmla="*/ 6548701 h 6858000"/>
              <a:gd name="connsiteX13" fmla="*/ 3013200 w 3151188"/>
              <a:gd name="connsiteY13" fmla="*/ 6804576 h 6858000"/>
              <a:gd name="connsiteX14" fmla="*/ 2956879 w 3151188"/>
              <a:gd name="connsiteY14" fmla="*/ 6835506 h 6858000"/>
              <a:gd name="connsiteX15" fmla="*/ 2849868 w 3151188"/>
              <a:gd name="connsiteY15" fmla="*/ 6858000 h 6858000"/>
              <a:gd name="connsiteX16" fmla="*/ 1577002 w 3151188"/>
              <a:gd name="connsiteY16" fmla="*/ 6858000 h 6858000"/>
              <a:gd name="connsiteX17" fmla="*/ 301320 w 3151188"/>
              <a:gd name="connsiteY17" fmla="*/ 6858000 h 6858000"/>
              <a:gd name="connsiteX18" fmla="*/ 194309 w 3151188"/>
              <a:gd name="connsiteY18" fmla="*/ 6835506 h 6858000"/>
              <a:gd name="connsiteX19" fmla="*/ 137988 w 3151188"/>
              <a:gd name="connsiteY19" fmla="*/ 6804576 h 6858000"/>
              <a:gd name="connsiteX20" fmla="*/ 0 w 3151188"/>
              <a:gd name="connsiteY20" fmla="*/ 6548701 h 6858000"/>
              <a:gd name="connsiteX21" fmla="*/ 0 w 3151188"/>
              <a:gd name="connsiteY21" fmla="*/ 306487 h 6858000"/>
              <a:gd name="connsiteX22" fmla="*/ 256263 w 3151188"/>
              <a:gd name="connsiteY2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151188" h="6858000">
                <a:moveTo>
                  <a:pt x="256263" y="0"/>
                </a:moveTo>
                <a:cubicBezTo>
                  <a:pt x="394251" y="0"/>
                  <a:pt x="526606" y="0"/>
                  <a:pt x="664594" y="0"/>
                </a:cubicBezTo>
                <a:cubicBezTo>
                  <a:pt x="675858" y="0"/>
                  <a:pt x="687122" y="5624"/>
                  <a:pt x="687122" y="25306"/>
                </a:cubicBezTo>
                <a:cubicBezTo>
                  <a:pt x="687122" y="39365"/>
                  <a:pt x="687122" y="59048"/>
                  <a:pt x="689939" y="73107"/>
                </a:cubicBezTo>
                <a:cubicBezTo>
                  <a:pt x="701203" y="182768"/>
                  <a:pt x="768789" y="247439"/>
                  <a:pt x="878616" y="247439"/>
                </a:cubicBezTo>
                <a:cubicBezTo>
                  <a:pt x="1109534" y="247439"/>
                  <a:pt x="1343268" y="247439"/>
                  <a:pt x="1577002" y="247439"/>
                </a:cubicBezTo>
                <a:cubicBezTo>
                  <a:pt x="1807920" y="247439"/>
                  <a:pt x="2041655" y="247439"/>
                  <a:pt x="2272573" y="247439"/>
                </a:cubicBezTo>
                <a:cubicBezTo>
                  <a:pt x="2382400" y="247439"/>
                  <a:pt x="2449985" y="182768"/>
                  <a:pt x="2461250" y="73107"/>
                </a:cubicBezTo>
                <a:cubicBezTo>
                  <a:pt x="2464066" y="59048"/>
                  <a:pt x="2464066" y="39365"/>
                  <a:pt x="2464066" y="25306"/>
                </a:cubicBezTo>
                <a:cubicBezTo>
                  <a:pt x="2464066" y="5624"/>
                  <a:pt x="2475330" y="0"/>
                  <a:pt x="2486594" y="0"/>
                </a:cubicBezTo>
                <a:cubicBezTo>
                  <a:pt x="2624582" y="0"/>
                  <a:pt x="2756938" y="0"/>
                  <a:pt x="2894925" y="0"/>
                </a:cubicBezTo>
                <a:cubicBezTo>
                  <a:pt x="3108947" y="0"/>
                  <a:pt x="3151188" y="179956"/>
                  <a:pt x="3151188" y="306487"/>
                </a:cubicBezTo>
                <a:cubicBezTo>
                  <a:pt x="3151188" y="2387225"/>
                  <a:pt x="3151188" y="4467963"/>
                  <a:pt x="3151188" y="6548701"/>
                </a:cubicBezTo>
                <a:cubicBezTo>
                  <a:pt x="3151188" y="6661174"/>
                  <a:pt x="3103315" y="6742716"/>
                  <a:pt x="3013200" y="6804576"/>
                </a:cubicBezTo>
                <a:cubicBezTo>
                  <a:pt x="2996304" y="6815823"/>
                  <a:pt x="2976591" y="6824259"/>
                  <a:pt x="2956879" y="6835506"/>
                </a:cubicBezTo>
                <a:cubicBezTo>
                  <a:pt x="2923086" y="6849565"/>
                  <a:pt x="2886477" y="6858000"/>
                  <a:pt x="2849868" y="6858000"/>
                </a:cubicBezTo>
                <a:cubicBezTo>
                  <a:pt x="2849868" y="6858000"/>
                  <a:pt x="2849868" y="6858000"/>
                  <a:pt x="1577002" y="6858000"/>
                </a:cubicBezTo>
                <a:cubicBezTo>
                  <a:pt x="1577002" y="6858000"/>
                  <a:pt x="1577002" y="6858000"/>
                  <a:pt x="301320" y="6858000"/>
                </a:cubicBezTo>
                <a:cubicBezTo>
                  <a:pt x="264711" y="6858000"/>
                  <a:pt x="228102" y="6849565"/>
                  <a:pt x="194309" y="6835506"/>
                </a:cubicBezTo>
                <a:cubicBezTo>
                  <a:pt x="174597" y="6824259"/>
                  <a:pt x="154884" y="6815823"/>
                  <a:pt x="137988" y="6804576"/>
                </a:cubicBezTo>
                <a:cubicBezTo>
                  <a:pt x="47873" y="6742716"/>
                  <a:pt x="0" y="6661174"/>
                  <a:pt x="0" y="6548701"/>
                </a:cubicBezTo>
                <a:cubicBezTo>
                  <a:pt x="0" y="4467963"/>
                  <a:pt x="0" y="2387225"/>
                  <a:pt x="0" y="306487"/>
                </a:cubicBezTo>
                <a:cubicBezTo>
                  <a:pt x="0" y="179956"/>
                  <a:pt x="42241" y="0"/>
                  <a:pt x="256263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 sz="1000"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C5836239-1D04-44A3-AAA9-917A73B2CE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4605337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233096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496294BF-D3D0-4802-AC90-6B34E21A471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C40E76C-945F-4CFF-AF64-9F4AFBE031EE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DC92EF49-6770-4821-85BD-6B58BC2A3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36EF048-6182-46E6-8FD1-9B53FFDF3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D131AAE3-7275-45DF-A769-EAF56E6801CA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5E1A07C7-D4A9-4D9C-BF1E-2F347913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5FE140FB-ECB4-439D-BF7A-348D7592C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4AD64196-CF34-4AD0-A16E-5539B1001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F414E838-E68E-4F8F-9508-065C7A4E8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50B37B52-58A7-4290-B58A-6D0AD767A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09B8253D-2FF1-4631-B01A-1BB370558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A56A50CE-D116-4E3D-9F9C-6B4A7A9B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1E1E3BA3-3D65-4AEE-89A2-7A24EE545D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CEBC7267-459F-46CB-9686-DC9EC33EA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FB993FA4-CFC5-4837-A96F-50FD90CAC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1E250036-7D62-4114-A92A-3112FF8860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83399" y="1592263"/>
            <a:ext cx="3821114" cy="2960687"/>
          </a:xfrm>
          <a:prstGeom prst="round2SameRect">
            <a:avLst>
              <a:gd name="adj1" fmla="val 10554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9AEC450-8DAE-4E70-AD4D-356D0443C96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65F49CE1-5135-4F4A-BFB2-F32F6AACE77C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236985-8E22-4FFB-AFEF-C6A5AC20472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2AF24B-2DDF-4827-A36F-31975804BAE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47B9E13-3744-40A3-A85C-84015DF9DF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87488" y="4853031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1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AE328B77-E9BB-42BD-AEA3-064C0C6E30D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83399" y="4853031"/>
            <a:ext cx="3821114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8"/>
            <a:r>
              <a:rPr lang="de-DE"/>
              <a:t>Bildtitel 02</a:t>
            </a:r>
          </a:p>
        </p:txBody>
      </p:sp>
      <p:sp>
        <p:nvSpPr>
          <p:cNvPr id="14" name="Textplatzhalter 28">
            <a:extLst>
              <a:ext uri="{FF2B5EF4-FFF2-40B4-BE49-F238E27FC236}">
                <a16:creationId xmlns:a16="http://schemas.microsoft.com/office/drawing/2014/main" id="{6B8CED60-7D19-4349-BF76-DCB0CAE8F1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87488" y="5265736"/>
            <a:ext cx="3821114" cy="1008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platzhalter 28">
            <a:extLst>
              <a:ext uri="{FF2B5EF4-FFF2-40B4-BE49-F238E27FC236}">
                <a16:creationId xmlns:a16="http://schemas.microsoft.com/office/drawing/2014/main" id="{B349CDDB-B0BE-4223-93D7-5E44317803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99" y="5265736"/>
            <a:ext cx="3821114" cy="1008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976231A2-CE65-496D-8AEA-F275735E3C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80227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FD7AA177-9107-4D8D-9F97-1CDC2E86A4A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B4F717E-0C12-479E-8553-1DE225BA4CE3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F5645894-B5F9-45B1-A40B-B3AD39B1C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C8E2313B-3F49-4183-945F-97BA2EC06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B6A391F-4FE1-47A0-B9BE-2920F1ED3D1C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26127AE2-ABCB-4715-985A-7CA177F90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47B751FB-ED4E-40F8-B3E1-8245EB4CB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202E4F70-0E90-4670-9460-1C780E817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E5FDADB1-A503-4639-9E3B-1381DFE4D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1">
                <a:extLst>
                  <a:ext uri="{FF2B5EF4-FFF2-40B4-BE49-F238E27FC236}">
                    <a16:creationId xmlns:a16="http://schemas.microsoft.com/office/drawing/2014/main" id="{33443494-539D-49EE-9E6B-5E23AD7F8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0065938-87C5-41B9-BA6F-8CFD09517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3">
                <a:extLst>
                  <a:ext uri="{FF2B5EF4-FFF2-40B4-BE49-F238E27FC236}">
                    <a16:creationId xmlns:a16="http://schemas.microsoft.com/office/drawing/2014/main" id="{FC291407-C501-454B-A8EE-7CAC0EBF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4">
                <a:extLst>
                  <a:ext uri="{FF2B5EF4-FFF2-40B4-BE49-F238E27FC236}">
                    <a16:creationId xmlns:a16="http://schemas.microsoft.com/office/drawing/2014/main" id="{95E6D4F2-3255-40E5-A13F-91246F7BCE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5">
                <a:extLst>
                  <a:ext uri="{FF2B5EF4-FFF2-40B4-BE49-F238E27FC236}">
                    <a16:creationId xmlns:a16="http://schemas.microsoft.com/office/drawing/2014/main" id="{444BCF27-B343-42A9-9DCA-E33BAC3C2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3CC4F76B-36A1-4B25-9B0A-2D354D230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F93A7B41-6D62-4864-8FFA-1765074A40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583112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F8EA52FF-4D6F-4786-948F-F5BBA46C44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401050" y="1592263"/>
            <a:ext cx="3025775" cy="2960687"/>
          </a:xfrm>
          <a:custGeom>
            <a:avLst/>
            <a:gdLst>
              <a:gd name="connsiteX0" fmla="*/ 309333 w 3025775"/>
              <a:gd name="connsiteY0" fmla="*/ 0 h 2960687"/>
              <a:gd name="connsiteX1" fmla="*/ 2716442 w 3025775"/>
              <a:gd name="connsiteY1" fmla="*/ 0 h 2960687"/>
              <a:gd name="connsiteX2" fmla="*/ 3025775 w 3025775"/>
              <a:gd name="connsiteY2" fmla="*/ 309333 h 2960687"/>
              <a:gd name="connsiteX3" fmla="*/ 3025775 w 3025775"/>
              <a:gd name="connsiteY3" fmla="*/ 2960687 h 2960687"/>
              <a:gd name="connsiteX4" fmla="*/ 0 w 3025775"/>
              <a:gd name="connsiteY4" fmla="*/ 2960687 h 2960687"/>
              <a:gd name="connsiteX5" fmla="*/ 0 w 3025775"/>
              <a:gd name="connsiteY5" fmla="*/ 309333 h 2960687"/>
              <a:gd name="connsiteX6" fmla="*/ 309333 w 3025775"/>
              <a:gd name="connsiteY6" fmla="*/ 0 h 2960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775" h="2960687">
                <a:moveTo>
                  <a:pt x="309333" y="0"/>
                </a:moveTo>
                <a:lnTo>
                  <a:pt x="2716442" y="0"/>
                </a:lnTo>
                <a:cubicBezTo>
                  <a:pt x="2887282" y="0"/>
                  <a:pt x="3025775" y="138493"/>
                  <a:pt x="3025775" y="309333"/>
                </a:cubicBezTo>
                <a:lnTo>
                  <a:pt x="3025775" y="2960687"/>
                </a:lnTo>
                <a:lnTo>
                  <a:pt x="0" y="2960687"/>
                </a:lnTo>
                <a:lnTo>
                  <a:pt x="0" y="309333"/>
                </a:lnTo>
                <a:cubicBezTo>
                  <a:pt x="0" y="138493"/>
                  <a:pt x="138493" y="0"/>
                  <a:pt x="30933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5FF0B9-EDF2-4882-8704-4545C832A92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88CE6501-EEEE-4316-8701-8C7DE081FF83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8D8104-D8B2-4D95-A5F6-12F39DCDEF9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29D6E93-7F18-4FF1-9F28-312A4EDB57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BFF5B44-121A-4367-B6E2-03918ADA9A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00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00AAE0B7-896C-497B-B63C-A6AFD3696A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83112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FA68F9C-9D74-44BD-A0C6-ABA5E620C9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1050" y="4853032"/>
            <a:ext cx="302577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18" name="Textplatzhalter 28">
            <a:extLst>
              <a:ext uri="{FF2B5EF4-FFF2-40B4-BE49-F238E27FC236}">
                <a16:creationId xmlns:a16="http://schemas.microsoft.com/office/drawing/2014/main" id="{3D06BD6F-9548-4E4A-9622-73B7940AF3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200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platzhalter 28">
            <a:extLst>
              <a:ext uri="{FF2B5EF4-FFF2-40B4-BE49-F238E27FC236}">
                <a16:creationId xmlns:a16="http://schemas.microsoft.com/office/drawing/2014/main" id="{92F70558-BDEB-4EDA-96DC-F9F377A901C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83112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platzhalter 28">
            <a:extLst>
              <a:ext uri="{FF2B5EF4-FFF2-40B4-BE49-F238E27FC236}">
                <a16:creationId xmlns:a16="http://schemas.microsoft.com/office/drawing/2014/main" id="{A4EEBFB5-31AF-44B0-B449-C656932291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01050" y="5265738"/>
            <a:ext cx="302577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Untertitel 2">
            <a:extLst>
              <a:ext uri="{FF2B5EF4-FFF2-40B4-BE49-F238E27FC236}">
                <a16:creationId xmlns:a16="http://schemas.microsoft.com/office/drawing/2014/main" id="{4F9DBBC9-FA8B-496C-8FE5-C495B75580C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965345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E8CB8E4-FB84-4648-8735-CB7CC4E6C6D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ABE9D84-609D-4A0B-9FE3-6E2E3C22590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7" name="Oval 5">
              <a:extLst>
                <a:ext uri="{FF2B5EF4-FFF2-40B4-BE49-F238E27FC236}">
                  <a16:creationId xmlns:a16="http://schemas.microsoft.com/office/drawing/2014/main" id="{8AB12F9D-2FCF-463F-8048-C6B1518CA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FB2B76A1-114C-433B-8012-C92676EEF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F0EA9399-9BE8-41AF-8045-D0420265E7A7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C0705B63-CDD9-4B98-BBB9-129890734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37873C95-B4B9-4D3F-8F2B-1F7E9CDD8D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DEDCFF11-F37C-4A97-9525-49EC3858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A6D5E4F-AB2E-44B6-B403-C2E671EBA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9A77CCC4-C472-4018-B101-78E437AAD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01B07C3-A05E-4452-95C3-A22431090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D34AE42-2F7D-497A-BC97-5CBC48123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DAA2AC69-85F7-4098-89C0-B43D8A77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F3A06AD5-31F8-4D18-8639-A476D2C03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6AF5945C-C038-4B9C-9AC1-783433F96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43800-777F-4A36-8003-A058D04E62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r"/>
            <a:fld id="{9B45EC02-8091-4C4D-89E2-2CD64176AC9E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70F859-33A7-427E-A5C9-27FEA2186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59A9547-691C-4948-A8E5-C71CA5968B4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C65F5F3-5F25-49DD-9082-C7A05680F31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C7D15551-1290-405F-BD25-6ABF089472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7568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22F89AD0-02C5-4175-B3F4-8788C3137D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87027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31" name="Textplatzhalter 8">
            <a:extLst>
              <a:ext uri="{FF2B5EF4-FFF2-40B4-BE49-F238E27FC236}">
                <a16:creationId xmlns:a16="http://schemas.microsoft.com/office/drawing/2014/main" id="{FE572951-2F2B-4587-8B08-FA97A95041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7202" y="4853032"/>
            <a:ext cx="2228035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33" name="Textplatzhalter 28">
            <a:extLst>
              <a:ext uri="{FF2B5EF4-FFF2-40B4-BE49-F238E27FC236}">
                <a16:creationId xmlns:a16="http://schemas.microsoft.com/office/drawing/2014/main" id="{4ED0B10A-D3D0-4421-86F8-F66783F8525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2000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platzhalter 28">
            <a:extLst>
              <a:ext uri="{FF2B5EF4-FFF2-40B4-BE49-F238E27FC236}">
                <a16:creationId xmlns:a16="http://schemas.microsoft.com/office/drawing/2014/main" id="{6320E11F-E7F2-4E8F-9EDD-97A74F2BDB6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57568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platzhalter 28">
            <a:extLst>
              <a:ext uri="{FF2B5EF4-FFF2-40B4-BE49-F238E27FC236}">
                <a16:creationId xmlns:a16="http://schemas.microsoft.com/office/drawing/2014/main" id="{3DBEFF14-C172-4623-AD1D-F41CEF9987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387027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platzhalter 28">
            <a:extLst>
              <a:ext uri="{FF2B5EF4-FFF2-40B4-BE49-F238E27FC236}">
                <a16:creationId xmlns:a16="http://schemas.microsoft.com/office/drawing/2014/main" id="{6FA93FC9-E925-4BFF-A3E4-F222D9C8A9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97202" y="5265738"/>
            <a:ext cx="2228035" cy="1008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C14B58CB-28C0-4E82-A4BC-8BFBB3EED94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Bildplatzhalter 47">
            <a:extLst>
              <a:ext uri="{FF2B5EF4-FFF2-40B4-BE49-F238E27FC236}">
                <a16:creationId xmlns:a16="http://schemas.microsoft.com/office/drawing/2014/main" id="{77EBA76F-BAD9-46BE-BD45-4F48248A3D1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62001" y="1592264"/>
            <a:ext cx="2228034" cy="2960686"/>
          </a:xfrm>
          <a:custGeom>
            <a:avLst/>
            <a:gdLst>
              <a:gd name="connsiteX0" fmla="*/ 316581 w 2228034"/>
              <a:gd name="connsiteY0" fmla="*/ 0 h 2960686"/>
              <a:gd name="connsiteX1" fmla="*/ 1911454 w 2228034"/>
              <a:gd name="connsiteY1" fmla="*/ 0 h 2960686"/>
              <a:gd name="connsiteX2" fmla="*/ 2221603 w 2228034"/>
              <a:gd name="connsiteY2" fmla="*/ 252779 h 2960686"/>
              <a:gd name="connsiteX3" fmla="*/ 2228034 w 2228034"/>
              <a:gd name="connsiteY3" fmla="*/ 316571 h 2960686"/>
              <a:gd name="connsiteX4" fmla="*/ 2228034 w 2228034"/>
              <a:gd name="connsiteY4" fmla="*/ 2960686 h 2960686"/>
              <a:gd name="connsiteX5" fmla="*/ 0 w 2228034"/>
              <a:gd name="connsiteY5" fmla="*/ 2960686 h 2960686"/>
              <a:gd name="connsiteX6" fmla="*/ 0 w 2228034"/>
              <a:gd name="connsiteY6" fmla="*/ 2644106 h 2960686"/>
              <a:gd name="connsiteX7" fmla="*/ 0 w 2228034"/>
              <a:gd name="connsiteY7" fmla="*/ 1760537 h 2960686"/>
              <a:gd name="connsiteX8" fmla="*/ 0 w 2228034"/>
              <a:gd name="connsiteY8" fmla="*/ 316581 h 2960686"/>
              <a:gd name="connsiteX9" fmla="*/ 316581 w 2228034"/>
              <a:gd name="connsiteY9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28034" h="2960686">
                <a:moveTo>
                  <a:pt x="316581" y="0"/>
                </a:moveTo>
                <a:lnTo>
                  <a:pt x="1911454" y="0"/>
                </a:lnTo>
                <a:cubicBezTo>
                  <a:pt x="2064442" y="0"/>
                  <a:pt x="2192083" y="108518"/>
                  <a:pt x="2221603" y="252779"/>
                </a:cubicBezTo>
                <a:lnTo>
                  <a:pt x="2228034" y="316571"/>
                </a:lnTo>
                <a:lnTo>
                  <a:pt x="2228034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9" name="Bildplatzhalter 48">
            <a:extLst>
              <a:ext uri="{FF2B5EF4-FFF2-40B4-BE49-F238E27FC236}">
                <a16:creationId xmlns:a16="http://schemas.microsoft.com/office/drawing/2014/main" id="{5519A44C-C8A9-4A1D-8C11-53F9CB85E18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19720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9FDB38EF-879F-4CC0-9244-9B339BD4D46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575682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5041F5FB-BC44-4093-AE7B-CD10430091A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387027" y="1592264"/>
            <a:ext cx="2228035" cy="2960686"/>
          </a:xfrm>
          <a:custGeom>
            <a:avLst/>
            <a:gdLst>
              <a:gd name="connsiteX0" fmla="*/ 316581 w 2228035"/>
              <a:gd name="connsiteY0" fmla="*/ 0 h 2960686"/>
              <a:gd name="connsiteX1" fmla="*/ 1911454 w 2228035"/>
              <a:gd name="connsiteY1" fmla="*/ 0 h 2960686"/>
              <a:gd name="connsiteX2" fmla="*/ 2228035 w 2228035"/>
              <a:gd name="connsiteY2" fmla="*/ 316581 h 2960686"/>
              <a:gd name="connsiteX3" fmla="*/ 2228035 w 2228035"/>
              <a:gd name="connsiteY3" fmla="*/ 1760537 h 2960686"/>
              <a:gd name="connsiteX4" fmla="*/ 2228035 w 2228035"/>
              <a:gd name="connsiteY4" fmla="*/ 2644106 h 2960686"/>
              <a:gd name="connsiteX5" fmla="*/ 2228035 w 2228035"/>
              <a:gd name="connsiteY5" fmla="*/ 2960686 h 2960686"/>
              <a:gd name="connsiteX6" fmla="*/ 0 w 2228035"/>
              <a:gd name="connsiteY6" fmla="*/ 2960686 h 2960686"/>
              <a:gd name="connsiteX7" fmla="*/ 0 w 2228035"/>
              <a:gd name="connsiteY7" fmla="*/ 2644106 h 2960686"/>
              <a:gd name="connsiteX8" fmla="*/ 0 w 2228035"/>
              <a:gd name="connsiteY8" fmla="*/ 1760537 h 2960686"/>
              <a:gd name="connsiteX9" fmla="*/ 0 w 2228035"/>
              <a:gd name="connsiteY9" fmla="*/ 316581 h 2960686"/>
              <a:gd name="connsiteX10" fmla="*/ 316581 w 2228035"/>
              <a:gd name="connsiteY10" fmla="*/ 0 h 2960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28035" h="2960686">
                <a:moveTo>
                  <a:pt x="316581" y="0"/>
                </a:moveTo>
                <a:lnTo>
                  <a:pt x="1911454" y="0"/>
                </a:lnTo>
                <a:cubicBezTo>
                  <a:pt x="2086297" y="0"/>
                  <a:pt x="2228035" y="141738"/>
                  <a:pt x="2228035" y="316581"/>
                </a:cubicBezTo>
                <a:lnTo>
                  <a:pt x="2228035" y="1760537"/>
                </a:lnTo>
                <a:lnTo>
                  <a:pt x="2228035" y="2644106"/>
                </a:lnTo>
                <a:lnTo>
                  <a:pt x="2228035" y="2960686"/>
                </a:lnTo>
                <a:lnTo>
                  <a:pt x="0" y="2960686"/>
                </a:lnTo>
                <a:lnTo>
                  <a:pt x="0" y="2644106"/>
                </a:lnTo>
                <a:lnTo>
                  <a:pt x="0" y="1760537"/>
                </a:lnTo>
                <a:lnTo>
                  <a:pt x="0" y="316581"/>
                </a:lnTo>
                <a:cubicBezTo>
                  <a:pt x="0" y="141738"/>
                  <a:pt x="141738" y="0"/>
                  <a:pt x="3165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</p:spTree>
    <p:extLst>
      <p:ext uri="{BB962C8B-B14F-4D97-AF65-F5344CB8AC3E}">
        <p14:creationId xmlns:p14="http://schemas.microsoft.com/office/powerpoint/2010/main" val="1244728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Bildplatzhalter 43">
            <a:extLst>
              <a:ext uri="{FF2B5EF4-FFF2-40B4-BE49-F238E27FC236}">
                <a16:creationId xmlns:a16="http://schemas.microsoft.com/office/drawing/2014/main" id="{2CF2BA29-B1F5-4E1C-915D-7F4FC61849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943475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B7C45DC4-51D5-44A9-817E-78B83E5B08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399462" y="1915370"/>
            <a:ext cx="2300287" cy="2126405"/>
          </a:xfrm>
          <a:prstGeom prst="round2SameRect">
            <a:avLst>
              <a:gd name="adj1" fmla="val 14427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5AA77A-1C06-4D07-8794-FCA3B043B958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AB9A7CC8-E922-49A1-BA9B-133FB956ABB2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D25278-5920-4203-8EF2-E38D0AAB24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92D9BE3-5B6C-4092-94F4-64CE9C9872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ECA3A5F9-E289-4294-9F7A-29E9AEC3A3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7" name="Textplatzhalter 8">
            <a:extLst>
              <a:ext uri="{FF2B5EF4-FFF2-40B4-BE49-F238E27FC236}">
                <a16:creationId xmlns:a16="http://schemas.microsoft.com/office/drawing/2014/main" id="{12AFD144-3B50-4F91-8441-182543910C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87488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48" name="Textplatzhalter 16">
            <a:extLst>
              <a:ext uri="{FF2B5EF4-FFF2-40B4-BE49-F238E27FC236}">
                <a16:creationId xmlns:a16="http://schemas.microsoft.com/office/drawing/2014/main" id="{7C55FB76-330C-43C1-A6D1-95F39328501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7488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B695A75E-3972-4898-9709-54E11C52759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43475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5" name="Textplatzhalter 8">
            <a:extLst>
              <a:ext uri="{FF2B5EF4-FFF2-40B4-BE49-F238E27FC236}">
                <a16:creationId xmlns:a16="http://schemas.microsoft.com/office/drawing/2014/main" id="{B4AC352C-8BFA-4B04-8161-F39F41D11A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3475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6" name="Textplatzhalter 8">
            <a:extLst>
              <a:ext uri="{FF2B5EF4-FFF2-40B4-BE49-F238E27FC236}">
                <a16:creationId xmlns:a16="http://schemas.microsoft.com/office/drawing/2014/main" id="{F0836A57-2522-4CEC-9F8E-D6F07EFC234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9462" y="4300582"/>
            <a:ext cx="2300287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57" name="Textplatzhalter 16">
            <a:extLst>
              <a:ext uri="{FF2B5EF4-FFF2-40B4-BE49-F238E27FC236}">
                <a16:creationId xmlns:a16="http://schemas.microsoft.com/office/drawing/2014/main" id="{F33FFE5C-656A-45E8-8AD7-C79684EDA49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399462" y="4713288"/>
            <a:ext cx="2300287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1948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 Inhalt Farbfläch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42C1C417-C6A8-42BE-9910-2D37DC5D2A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262360 w 12192000"/>
              <a:gd name="connsiteY3" fmla="*/ 6858000 h 6858000"/>
              <a:gd name="connsiteX4" fmla="*/ 11262360 w 12192000"/>
              <a:gd name="connsiteY4" fmla="*/ 3802297 h 6858000"/>
              <a:gd name="connsiteX5" fmla="*/ 10276288 w 12192000"/>
              <a:gd name="connsiteY5" fmla="*/ 2816225 h 6858000"/>
              <a:gd name="connsiteX6" fmla="*/ 0 w 12192000"/>
              <a:gd name="connsiteY6" fmla="*/ 2816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262360" y="6858000"/>
                </a:lnTo>
                <a:lnTo>
                  <a:pt x="11262360" y="3802297"/>
                </a:lnTo>
                <a:cubicBezTo>
                  <a:pt x="11262360" y="3257704"/>
                  <a:pt x="10820881" y="2816225"/>
                  <a:pt x="10276288" y="2816225"/>
                </a:cubicBezTo>
                <a:lnTo>
                  <a:pt x="0" y="281622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138" y="368300"/>
            <a:ext cx="9213850" cy="25380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78833B7C-624A-4366-B73C-BA06FB92685A}"/>
              </a:ext>
            </a:extLst>
          </p:cNvPr>
          <p:cNvSpPr/>
          <p:nvPr userDrawn="1"/>
        </p:nvSpPr>
        <p:spPr>
          <a:xfrm>
            <a:off x="-10930" y="2601380"/>
            <a:ext cx="11503732" cy="4267200"/>
          </a:xfrm>
          <a:custGeom>
            <a:avLst/>
            <a:gdLst>
              <a:gd name="connsiteX0" fmla="*/ 0 w 11503732"/>
              <a:gd name="connsiteY0" fmla="*/ 0 h 4267200"/>
              <a:gd name="connsiteX1" fmla="*/ 10297224 w 11503732"/>
              <a:gd name="connsiteY1" fmla="*/ 0 h 4267200"/>
              <a:gd name="connsiteX2" fmla="*/ 11503732 w 11503732"/>
              <a:gd name="connsiteY2" fmla="*/ 1206508 h 4267200"/>
              <a:gd name="connsiteX3" fmla="*/ 11503732 w 11503732"/>
              <a:gd name="connsiteY3" fmla="*/ 4267200 h 4267200"/>
              <a:gd name="connsiteX4" fmla="*/ 0 w 11503732"/>
              <a:gd name="connsiteY4" fmla="*/ 4267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3732" h="4267200">
                <a:moveTo>
                  <a:pt x="0" y="0"/>
                </a:moveTo>
                <a:lnTo>
                  <a:pt x="10297224" y="0"/>
                </a:lnTo>
                <a:cubicBezTo>
                  <a:pt x="10963560" y="0"/>
                  <a:pt x="11503732" y="540172"/>
                  <a:pt x="11503732" y="1206508"/>
                </a:cubicBezTo>
                <a:lnTo>
                  <a:pt x="11503732" y="4267200"/>
                </a:lnTo>
                <a:lnTo>
                  <a:pt x="0" y="4267200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248832B1-63E3-4039-A1EB-5FBBE909673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487488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6E7D95-E752-4938-A697-BF0079FA9A28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6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1D77E2A1-AC77-44E7-839B-CADFB8AA1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607E5BD9-B18D-42DC-A03B-FFC59313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79A6C844-5DD2-409E-98B9-E19508E5FA87}"/>
                </a:ext>
              </a:extLst>
            </p:cNvPr>
            <p:cNvGrpSpPr/>
            <p:nvPr/>
          </p:nvGrpSpPr>
          <p:grpSpPr>
            <a:xfrm>
              <a:off x="1311217" y="1530579"/>
              <a:ext cx="1533582" cy="307590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643D1AFD-B7D6-4A09-BFEB-A6E265C0E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40E33BC4-1E2D-4478-BF91-015ADA50B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B1369C83-92F5-4D60-B81D-1BA647CC0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26C5AFE6-9457-47F3-A719-0D2F180FC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EE3B5FE-7E51-4F77-8F4D-99C718E2F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C62839E-3074-4973-814C-1B5157D82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BC551B8-B813-4181-B5A2-4FCDD7F79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B4BC6E0C-B64B-45FC-BE32-87D981D4A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A8A873D6-99AD-4B9F-925C-0040680E3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E6FE9E62-9925-40BD-83DB-748F8A925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3EE30A50-6C25-44D7-942F-A1D692F5DDE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001642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1" name="Bildplatzhalter 50">
            <a:extLst>
              <a:ext uri="{FF2B5EF4-FFF2-40B4-BE49-F238E27FC236}">
                <a16:creationId xmlns:a16="http://schemas.microsoft.com/office/drawing/2014/main" id="{4C754E0D-D00D-406A-ABB1-2BC23994F8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15796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E86ED2C5-07F4-4D71-ABCD-26E63A679F6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031105" y="1915370"/>
            <a:ext cx="1673408" cy="2126405"/>
          </a:xfrm>
          <a:prstGeom prst="round2SameRect">
            <a:avLst>
              <a:gd name="adj1" fmla="val 17805"/>
              <a:gd name="adj2" fmla="val 0"/>
            </a:avLst>
          </a:pr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1A2BA7-048B-4652-9F13-266927BA0590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11160919" y="7065971"/>
            <a:ext cx="457993" cy="101671"/>
          </a:xfrm>
        </p:spPr>
        <p:txBody>
          <a:bodyPr/>
          <a:lstStyle/>
          <a:p>
            <a:pPr algn="r"/>
            <a:fld id="{10221B4B-439C-4E8E-92EC-C9B7E18D8C98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E3B0B-3CCF-427F-AEAB-8D00A76E772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8401051" y="7065971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FF838C-BDC9-42AC-8249-5DDDCE8081A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725538" y="7065971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6" name="Untertitel 2">
            <a:extLst>
              <a:ext uri="{FF2B5EF4-FFF2-40B4-BE49-F238E27FC236}">
                <a16:creationId xmlns:a16="http://schemas.microsoft.com/office/drawing/2014/main" id="{05E0ABBB-6B85-4DD8-AFE0-17595577E6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8" name="Textplatzhalter 8">
            <a:extLst>
              <a:ext uri="{FF2B5EF4-FFF2-40B4-BE49-F238E27FC236}">
                <a16:creationId xmlns:a16="http://schemas.microsoft.com/office/drawing/2014/main" id="{076E981C-747C-4789-BEBC-9FFFDD48A1D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87489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1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B78C76E7-E70A-47C0-B458-99BAA724CAD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487489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4" name="Textplatzhalter 8">
            <a:extLst>
              <a:ext uri="{FF2B5EF4-FFF2-40B4-BE49-F238E27FC236}">
                <a16:creationId xmlns:a16="http://schemas.microsoft.com/office/drawing/2014/main" id="{B0BE9B6B-88C7-48AA-BE5E-5ABE9128C95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01642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2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E26049C7-2845-4FB3-90F5-9574A388A16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001642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platzhalter 8">
            <a:extLst>
              <a:ext uri="{FF2B5EF4-FFF2-40B4-BE49-F238E27FC236}">
                <a16:creationId xmlns:a16="http://schemas.microsoft.com/office/drawing/2014/main" id="{84FAB454-88E4-44EE-9463-92927AA8018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15796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3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id="{9F77B410-84CB-48D3-924D-25994EC215E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15796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22C6F66F-ACB0-42BC-92D9-F7593F289F1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31105" y="4300582"/>
            <a:ext cx="1673408" cy="412706"/>
          </a:xfrm>
        </p:spPr>
        <p:txBody>
          <a:bodyPr/>
          <a:lstStyle>
            <a:lvl1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0" indent="0">
              <a:lnSpc>
                <a:spcPct val="100000"/>
              </a:lnSpc>
              <a:buFont typeface="+mj-lt"/>
              <a:buNone/>
              <a:defRPr sz="1600">
                <a:solidFill>
                  <a:schemeClr val="bg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Bildtitel 04</a:t>
            </a:r>
          </a:p>
        </p:txBody>
      </p:sp>
      <p:sp>
        <p:nvSpPr>
          <p:cNvPr id="62" name="Textplatzhalter 16">
            <a:extLst>
              <a:ext uri="{FF2B5EF4-FFF2-40B4-BE49-F238E27FC236}">
                <a16:creationId xmlns:a16="http://schemas.microsoft.com/office/drawing/2014/main" id="{C97F651B-2DD3-45B9-ABD0-E827EE6AA71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031105" y="4713288"/>
            <a:ext cx="1673408" cy="1560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65906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foli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3B2B53F-4E76-4B5C-A72C-FAF82D9E2878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>
              <a:solidFill>
                <a:sysClr val="windowText" lastClr="000000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5201C21-CEDF-48CA-93BB-DCDE83D534C5}"/>
              </a:ext>
            </a:extLst>
          </p:cNvPr>
          <p:cNvGrpSpPr/>
          <p:nvPr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02C52DA6-D781-4567-9964-041EC68B0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20CFDCA-BA3A-42E0-B47F-9245B47DA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A0DAE39-70FF-48A6-8E27-8F70D93BDC9D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0044B34A-C2D1-436E-B9BB-E778BCF8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4C9B4A84-E50E-4911-B5B2-518AAE16C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4118E05D-B58E-4583-822E-8E801F1B7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1EFDAA4F-3A46-415B-B805-F62DCCDB3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0190A4D5-1889-4CEE-9622-126BC31DB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A77A66D-1283-4A5A-9E1F-9A051D2A2E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03C6FEEB-6794-4EB2-9610-8A0576ADB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349A3C5C-A554-4AC4-9892-85FEFE1E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E78FD7B2-7ED7-43BD-853B-C6FD3A728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312FEFA6-7DF0-46EC-BA10-172F3435D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698336-181A-4E38-B042-6ED3B1218D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592263"/>
            <a:ext cx="4608512" cy="46815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4423D7D-A76F-4417-BCB7-2D82E5813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A241901-4314-4749-BA37-8BFED61F3C7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5E98A8F0-C850-4461-A30F-84F2E9DD13C6}" type="datetime1">
              <a:rPr lang="de-DE" smtClean="0"/>
              <a:t>2022-05-13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2963B00-689C-4933-A4CB-D08E8780A8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C85099F-F1E7-44DA-A203-9C60530ED4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9" name="Untertitel 2">
            <a:extLst>
              <a:ext uri="{FF2B5EF4-FFF2-40B4-BE49-F238E27FC236}">
                <a16:creationId xmlns:a16="http://schemas.microsoft.com/office/drawing/2014/main" id="{DFAD810F-0319-4C39-9937-B53CE8D33B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138" y="690712"/>
            <a:ext cx="9213850" cy="253806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buNone/>
              <a:defRPr sz="16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2327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F0D4CB0E-8DA6-434C-8431-2770F0D197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8" name="Rechteck: eine Ecke abgerundet 27">
            <a:extLst>
              <a:ext uri="{FF2B5EF4-FFF2-40B4-BE49-F238E27FC236}">
                <a16:creationId xmlns:a16="http://schemas.microsoft.com/office/drawing/2014/main" id="{A309E3CC-5A15-4505-A33B-F4367BF50478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2B06885D-D5DD-40DC-A2A4-AB235E843A95}"/>
              </a:ext>
            </a:extLst>
          </p:cNvPr>
          <p:cNvGrpSpPr/>
          <p:nvPr userDrawn="1"/>
        </p:nvGrpSpPr>
        <p:grpSpPr>
          <a:xfrm>
            <a:off x="1487489" y="1592263"/>
            <a:ext cx="2961647" cy="790184"/>
            <a:chOff x="464743" y="1368699"/>
            <a:chExt cx="2380058" cy="635012"/>
          </a:xfrm>
        </p:grpSpPr>
        <p:sp>
          <p:nvSpPr>
            <p:cNvPr id="30" name="Oval 5">
              <a:extLst>
                <a:ext uri="{FF2B5EF4-FFF2-40B4-BE49-F238E27FC236}">
                  <a16:creationId xmlns:a16="http://schemas.microsoft.com/office/drawing/2014/main" id="{9580770A-3284-4E17-8B2A-730B0255C2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04661837-A7D9-40F6-BF29-101332C98C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3B52F90F-7706-44F7-8023-C9FADBAD09F8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DAF85518-3C28-40C3-8169-575B41E3FF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135463DE-9D9D-4F47-863F-E3572C9A70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70D927A1-67CD-4B68-A5E0-EDC0FC4211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CCFAD615-9DD7-4130-9847-58EDC00EEB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482FC7A6-7D75-4EE5-BBCF-444F7A7C8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BB81F49F-F441-4637-B438-001B9EDEA2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F3B62D74-6751-4CEA-9410-45108304F2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3047EA05-353C-4E32-98A7-8721494D5D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5">
                <a:extLst>
                  <a:ext uri="{FF2B5EF4-FFF2-40B4-BE49-F238E27FC236}">
                    <a16:creationId xmlns:a16="http://schemas.microsoft.com/office/drawing/2014/main" id="{A9AAA4DE-3176-4AFF-A68E-05E555AC99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3C15F6A8-29EB-4D5C-8A12-121356099F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4" name="Untertitel 2">
            <a:extLst>
              <a:ext uri="{FF2B5EF4-FFF2-40B4-BE49-F238E27FC236}">
                <a16:creationId xmlns:a16="http://schemas.microsoft.com/office/drawing/2014/main" id="{61AE2B7A-25E9-4A5E-9FFD-10CE71373F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8" y="3731319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1BF12963-66E8-43CB-B587-0CFB1310E1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6991314"/>
            <a:ext cx="457993" cy="101671"/>
          </a:xfrm>
        </p:spPr>
        <p:txBody>
          <a:bodyPr/>
          <a:lstStyle/>
          <a:p>
            <a:pPr algn="r"/>
            <a:fld id="{EC899DCE-5A9D-4D70-8CEB-2DD5828162FF}" type="datetime1">
              <a:rPr lang="de-DE" smtClean="0"/>
              <a:t>2022-05-13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09F7EFF7-52FF-4102-9EC8-DE3246C08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6991314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47" name="Foliennummernplatzhalter 5">
            <a:extLst>
              <a:ext uri="{FF2B5EF4-FFF2-40B4-BE49-F238E27FC236}">
                <a16:creationId xmlns:a16="http://schemas.microsoft.com/office/drawing/2014/main" id="{E39A23B0-7A22-45D6-BC9A-327391C0B1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6991314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451A047A-8576-45C1-8C2D-AA9B1C88D960}"/>
              </a:ext>
            </a:extLst>
          </p:cNvPr>
          <p:cNvSpPr txBox="1">
            <a:spLocks/>
          </p:cNvSpPr>
          <p:nvPr userDrawn="1"/>
        </p:nvSpPr>
        <p:spPr>
          <a:xfrm>
            <a:off x="1487489" y="2825750"/>
            <a:ext cx="4608514" cy="12160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C9B75902-53ED-4DCF-9380-3D806E11D1CF}"/>
              </a:ext>
            </a:extLst>
          </p:cNvPr>
          <p:cNvSpPr txBox="1">
            <a:spLocks/>
          </p:cNvSpPr>
          <p:nvPr userDrawn="1"/>
        </p:nvSpPr>
        <p:spPr>
          <a:xfrm>
            <a:off x="1487488" y="4286485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>
                <a:latin typeface="+mn-lt"/>
              </a:rPr>
              <a:t>LichtBlick</a:t>
            </a:r>
            <a:r>
              <a:rPr lang="de-DE" noProof="0">
                <a:latin typeface="+mn-lt"/>
              </a:rPr>
              <a:t> S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Zirkusweg 6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20359 Hamburg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Telefon: 040-63 60 0</a:t>
            </a:r>
          </a:p>
          <a:p>
            <a:pPr lvl="0"/>
            <a:r>
              <a:rPr lang="de-DE" noProof="0">
                <a:latin typeface="+mn-lt"/>
              </a:rPr>
              <a:t>info@lichtblick.de</a:t>
            </a:r>
            <a:br>
              <a:rPr lang="de-DE" noProof="0">
                <a:latin typeface="+mn-lt"/>
              </a:rPr>
            </a:br>
            <a:r>
              <a:rPr lang="de-DE" noProof="0">
                <a:latin typeface="+mn-lt"/>
              </a:rPr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1935763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0E7B6854-638B-4BA3-B8C0-C2DD0F03782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53483877-EF50-4218-89F2-F79BFAD83C2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401050 w 12192000"/>
              <a:gd name="connsiteY3" fmla="*/ 6858000 h 6858000"/>
              <a:gd name="connsiteX4" fmla="*/ 8401050 w 12192000"/>
              <a:gd name="connsiteY4" fmla="*/ 3420567 h 6858000"/>
              <a:gd name="connsiteX5" fmla="*/ 7164883 w 12192000"/>
              <a:gd name="connsiteY5" fmla="*/ 2184400 h 6858000"/>
              <a:gd name="connsiteX6" fmla="*/ 0 w 12192000"/>
              <a:gd name="connsiteY6" fmla="*/ 2184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401050" y="6858000"/>
                </a:lnTo>
                <a:lnTo>
                  <a:pt x="8401050" y="3420567"/>
                </a:lnTo>
                <a:cubicBezTo>
                  <a:pt x="8401050" y="2737851"/>
                  <a:pt x="7847599" y="2184400"/>
                  <a:pt x="7164883" y="2184400"/>
                </a:cubicBezTo>
                <a:lnTo>
                  <a:pt x="0" y="21844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49B03EF8-387D-48D9-B22A-1CC400BEFB66}"/>
              </a:ext>
            </a:extLst>
          </p:cNvPr>
          <p:cNvGrpSpPr/>
          <p:nvPr userDrawn="1"/>
        </p:nvGrpSpPr>
        <p:grpSpPr>
          <a:xfrm>
            <a:off x="1487485" y="2887661"/>
            <a:ext cx="1512888" cy="403647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1F86FC42-63DF-4B4F-B05E-CA0FDB1312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D7EDA9F3-1D79-472C-8032-70DF6D0D84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4D68749B-163A-4742-9919-16502779701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5" name="Freeform 7">
                <a:extLst>
                  <a:ext uri="{FF2B5EF4-FFF2-40B4-BE49-F238E27FC236}">
                    <a16:creationId xmlns:a16="http://schemas.microsoft.com/office/drawing/2014/main" id="{288585EC-19F5-4489-A3BD-1C8044A7AB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8">
                <a:extLst>
                  <a:ext uri="{FF2B5EF4-FFF2-40B4-BE49-F238E27FC236}">
                    <a16:creationId xmlns:a16="http://schemas.microsoft.com/office/drawing/2014/main" id="{2DCFA071-14B5-4E54-A5D1-9D96F24FC2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9">
                <a:extLst>
                  <a:ext uri="{FF2B5EF4-FFF2-40B4-BE49-F238E27FC236}">
                    <a16:creationId xmlns:a16="http://schemas.microsoft.com/office/drawing/2014/main" id="{981A99C0-4EB0-46EB-9C09-6B5A37EB6A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0">
                <a:extLst>
                  <a:ext uri="{FF2B5EF4-FFF2-40B4-BE49-F238E27FC236}">
                    <a16:creationId xmlns:a16="http://schemas.microsoft.com/office/drawing/2014/main" id="{29554CC0-9306-4393-B6DE-554748141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1">
                <a:extLst>
                  <a:ext uri="{FF2B5EF4-FFF2-40B4-BE49-F238E27FC236}">
                    <a16:creationId xmlns:a16="http://schemas.microsoft.com/office/drawing/2014/main" id="{29E410D9-875F-4F4D-9DD5-B9B872484B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2">
                <a:extLst>
                  <a:ext uri="{FF2B5EF4-FFF2-40B4-BE49-F238E27FC236}">
                    <a16:creationId xmlns:a16="http://schemas.microsoft.com/office/drawing/2014/main" id="{AB183432-001A-4D6E-831F-F73060943D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3">
                <a:extLst>
                  <a:ext uri="{FF2B5EF4-FFF2-40B4-BE49-F238E27FC236}">
                    <a16:creationId xmlns:a16="http://schemas.microsoft.com/office/drawing/2014/main" id="{8BD54144-F359-4DB4-BF18-728D875B9D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4">
                <a:extLst>
                  <a:ext uri="{FF2B5EF4-FFF2-40B4-BE49-F238E27FC236}">
                    <a16:creationId xmlns:a16="http://schemas.microsoft.com/office/drawing/2014/main" id="{2801A43F-3638-4B4A-9DB1-A6675112EE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3" name="Freeform 15">
                <a:extLst>
                  <a:ext uri="{FF2B5EF4-FFF2-40B4-BE49-F238E27FC236}">
                    <a16:creationId xmlns:a16="http://schemas.microsoft.com/office/drawing/2014/main" id="{42DD607F-9D04-450D-83A2-9EE16A86B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4" name="Freeform 16">
                <a:extLst>
                  <a:ext uri="{FF2B5EF4-FFF2-40B4-BE49-F238E27FC236}">
                    <a16:creationId xmlns:a16="http://schemas.microsoft.com/office/drawing/2014/main" id="{FA6E9886-9CDF-4CA7-809D-E845FFB2D1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45" name="Datumsplatzhalter 2">
            <a:extLst>
              <a:ext uri="{FF2B5EF4-FFF2-40B4-BE49-F238E27FC236}">
                <a16:creationId xmlns:a16="http://schemas.microsoft.com/office/drawing/2014/main" id="{1C131CCB-D287-4F99-ACD5-E195B824C2E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CF2F4D85-F2B1-4D8C-A27C-C85D021F82D7}" type="datetime1">
              <a:rPr lang="de-DE" smtClean="0"/>
              <a:t>2022-05-13</a:t>
            </a:fld>
            <a:endParaRPr lang="de-DE"/>
          </a:p>
        </p:txBody>
      </p:sp>
      <p:sp>
        <p:nvSpPr>
          <p:cNvPr id="46" name="Fußzeilenplatzhalter 3">
            <a:extLst>
              <a:ext uri="{FF2B5EF4-FFF2-40B4-BE49-F238E27FC236}">
                <a16:creationId xmlns:a16="http://schemas.microsoft.com/office/drawing/2014/main" id="{3379F872-4B4B-4978-9B25-9B4D0BF4FB6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47" name="Foliennummernplatzhalter 4">
            <a:extLst>
              <a:ext uri="{FF2B5EF4-FFF2-40B4-BE49-F238E27FC236}">
                <a16:creationId xmlns:a16="http://schemas.microsoft.com/office/drawing/2014/main" id="{B9717823-C956-4484-AE3E-A5607602A27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8" name="Untertitel 2">
            <a:extLst>
              <a:ext uri="{FF2B5EF4-FFF2-40B4-BE49-F238E27FC236}">
                <a16:creationId xmlns:a16="http://schemas.microsoft.com/office/drawing/2014/main" id="{3F5F84D4-57CD-49CF-950C-A85531B76F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487485" y="4041776"/>
            <a:ext cx="4608513" cy="555166"/>
          </a:xfrm>
        </p:spPr>
        <p:txBody>
          <a:bodyPr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Ansprechpartner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D20993E3-363E-4106-B73C-5D0DA46D9068}"/>
              </a:ext>
            </a:extLst>
          </p:cNvPr>
          <p:cNvSpPr txBox="1">
            <a:spLocks/>
          </p:cNvSpPr>
          <p:nvPr userDrawn="1"/>
        </p:nvSpPr>
        <p:spPr>
          <a:xfrm>
            <a:off x="1487486" y="3458633"/>
            <a:ext cx="4608514" cy="58314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lvl1pPr lvl="0">
              <a:lnSpc>
                <a:spcPct val="80000"/>
              </a:lnSpc>
              <a:spcBef>
                <a:spcPct val="0"/>
              </a:spcBef>
              <a:buNone/>
              <a:defRPr lang="de-DE" sz="5400" baseline="0" dirty="0">
                <a:latin typeface="Officina Sans ITC Pro Medium" panose="020C0606030503020204" pitchFamily="34" charset="0"/>
                <a:ea typeface="Inter Medium" panose="020B0502030000000004" pitchFamily="34" charset="0"/>
              </a:defRPr>
            </a:lvl1pPr>
            <a:lvl2pPr>
              <a:lnSpc>
                <a:spcPct val="80000"/>
              </a:lnSpc>
              <a:defRPr sz="5400" baseline="0">
                <a:latin typeface="+mj-lt"/>
              </a:defRPr>
            </a:lvl2pPr>
            <a:lvl3pPr>
              <a:lnSpc>
                <a:spcPct val="80000"/>
              </a:lnSpc>
              <a:defRPr sz="5400" baseline="0">
                <a:latin typeface="+mj-lt"/>
              </a:defRPr>
            </a:lvl3pPr>
            <a:lvl4pPr>
              <a:lnSpc>
                <a:spcPct val="80000"/>
              </a:lnSpc>
              <a:defRPr sz="5400" b="0" baseline="0">
                <a:latin typeface="+mj-lt"/>
              </a:defRPr>
            </a:lvl4pPr>
            <a:lvl5pPr>
              <a:lnSpc>
                <a:spcPct val="80000"/>
              </a:lnSpc>
              <a:defRPr sz="5400" baseline="0">
                <a:latin typeface="+mj-lt"/>
              </a:defRPr>
            </a:lvl5pPr>
            <a:lvl6pPr>
              <a:lnSpc>
                <a:spcPct val="80000"/>
              </a:lnSpc>
              <a:defRPr sz="5400" baseline="0">
                <a:latin typeface="+mj-lt"/>
              </a:defRPr>
            </a:lvl6pPr>
            <a:lvl7pPr>
              <a:lnSpc>
                <a:spcPct val="80000"/>
              </a:lnSpc>
              <a:defRPr sz="5400" baseline="0">
                <a:latin typeface="+mj-lt"/>
              </a:defRPr>
            </a:lvl7pPr>
            <a:lvl8pPr>
              <a:lnSpc>
                <a:spcPct val="80000"/>
              </a:lnSpc>
              <a:defRPr sz="5400" baseline="0">
                <a:latin typeface="+mj-lt"/>
              </a:defRPr>
            </a:lvl8pPr>
            <a:lvl9pPr>
              <a:lnSpc>
                <a:spcPct val="80000"/>
              </a:lnSpc>
              <a:defRPr sz="5400" baseline="0">
                <a:latin typeface="+mj-lt"/>
              </a:defRPr>
            </a:lvl9pPr>
          </a:lstStyle>
          <a:p>
            <a:pPr lvl="0"/>
            <a:r>
              <a:rPr lang="de-DE" noProof="0"/>
              <a:t>Kontakt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5CF4727-6E17-4EB8-A7E6-D012B0559DE7}"/>
              </a:ext>
            </a:extLst>
          </p:cNvPr>
          <p:cNvSpPr txBox="1">
            <a:spLocks/>
          </p:cNvSpPr>
          <p:nvPr userDrawn="1"/>
        </p:nvSpPr>
        <p:spPr>
          <a:xfrm>
            <a:off x="1487485" y="4596942"/>
            <a:ext cx="4608513" cy="18927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90000"/>
              <a:buFont typeface="Inter Semi Bold" panose="020B0702030000000004" pitchFamily="34" charset="0"/>
              <a:buNone/>
              <a:defRPr lang="de-DE" sz="1600" b="0" dirty="0">
                <a:latin typeface="+mj-lt"/>
                <a:ea typeface="Inter Semi Bold" panose="020B0702030000000004" pitchFamily="34" charset="0"/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tabLst/>
              <a:defRPr sz="1600" b="0"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None/>
              <a:defRPr sz="1600" b="0"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6pPr>
            <a:lvl7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  <a:ea typeface="Inter Semi Bold" panose="020B0702030000000004" pitchFamily="34" charset="0"/>
              </a:defRPr>
            </a:lvl7pPr>
            <a:lvl8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latin typeface="+mj-lt"/>
              </a:defRPr>
            </a:lvl9pPr>
          </a:lstStyle>
          <a:p>
            <a:pPr lvl="0">
              <a:spcAft>
                <a:spcPts val="1200"/>
              </a:spcAft>
            </a:pPr>
            <a:r>
              <a:rPr lang="de-DE" noProof="0" err="1"/>
              <a:t>LichtBlick</a:t>
            </a:r>
            <a:r>
              <a:rPr lang="de-DE" noProof="0"/>
              <a:t> SE</a:t>
            </a:r>
            <a:br>
              <a:rPr lang="de-DE" noProof="0"/>
            </a:br>
            <a:r>
              <a:rPr lang="de-DE" noProof="0"/>
              <a:t>Zirkusweg 6</a:t>
            </a:r>
            <a:br>
              <a:rPr lang="de-DE" noProof="0"/>
            </a:br>
            <a:r>
              <a:rPr lang="de-DE" noProof="0"/>
              <a:t>20359 Hamburg</a:t>
            </a:r>
            <a:br>
              <a:rPr lang="de-DE" noProof="0"/>
            </a:br>
            <a:r>
              <a:rPr lang="de-DE" noProof="0"/>
              <a:t>Telefon: 040-63 60 0</a:t>
            </a:r>
          </a:p>
          <a:p>
            <a:pPr lvl="0"/>
            <a:r>
              <a:rPr lang="de-DE" noProof="0"/>
              <a:t>info@lichtblick.de</a:t>
            </a:r>
            <a:br>
              <a:rPr lang="de-DE" noProof="0"/>
            </a:br>
            <a:r>
              <a:rPr lang="de-DE" noProof="0"/>
              <a:t>www.lichtblick.de</a:t>
            </a:r>
          </a:p>
        </p:txBody>
      </p:sp>
    </p:spTree>
    <p:extLst>
      <p:ext uri="{BB962C8B-B14F-4D97-AF65-F5344CB8AC3E}">
        <p14:creationId xmlns:p14="http://schemas.microsoft.com/office/powerpoint/2010/main" val="3616537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B1863D8-DB63-4C22-AAA7-72EDC9CB82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EA14A0-3613-4360-88EF-0253BBAD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8A6063F8-741E-4B9D-8270-702A5482D45C}" type="datetime1">
              <a:rPr lang="de-DE" smtClean="0"/>
              <a:t>2022-05-1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6DB60C-42BE-40BD-8FF3-383B62B0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3053749-1ECC-4AB5-901B-624404F25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A1FF1D3-3173-46C3-A244-B65A4C046D4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EDACADA7-20C9-4408-BEAA-E5A9DD1BB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08261F-7D21-4331-9B51-D5EA24EAD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87CD074-2D91-4FBC-9D30-00760237743D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7A8C561C-87CE-45E1-9CFA-9512373D9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72EC9B22-1CF8-4F2A-8E57-58A39ABCA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C15ECBF-DF59-45DD-AE5F-B76DA979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D73A98C9-6BEB-4661-9643-E74C5A30F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413BD688-67B3-4777-AE5E-47FB317A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:a16="http://schemas.microsoft.com/office/drawing/2014/main" id="{21D675A5-E087-4E40-92F2-955977DF88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:a16="http://schemas.microsoft.com/office/drawing/2014/main" id="{40FB772E-762E-437E-BB51-5DD22DC196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:a16="http://schemas.microsoft.com/office/drawing/2014/main" id="{19EF3042-F9D9-42E5-BA79-4A9CD09A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EC7CE5F6-A704-449A-BF6A-DEC72341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BDE56437-557C-4D2A-922C-220877886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07365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qua_LichtBli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380F37C-B55F-4B1E-85A9-642BBA4F59BB}"/>
              </a:ext>
            </a:extLst>
          </p:cNvPr>
          <p:cNvGrpSpPr/>
          <p:nvPr userDrawn="1"/>
        </p:nvGrpSpPr>
        <p:grpSpPr bwMode="gray">
          <a:xfrm>
            <a:off x="0" y="0"/>
            <a:ext cx="12192000" cy="6858000"/>
            <a:chOff x="5949952" y="0"/>
            <a:chExt cx="8924928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D96DC5-264D-4F98-8B9F-FEF747EDC747}"/>
                </a:ext>
              </a:extLst>
            </p:cNvPr>
            <p:cNvSpPr/>
            <p:nvPr userDrawn="1"/>
          </p:nvSpPr>
          <p:spPr bwMode="gray">
            <a:xfrm>
              <a:off x="5949952" y="0"/>
              <a:ext cx="1487488" cy="6858000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33FDE03-4E40-458F-A6DA-F24ECF42F971}"/>
                </a:ext>
              </a:extLst>
            </p:cNvPr>
            <p:cNvSpPr/>
            <p:nvPr userDrawn="1"/>
          </p:nvSpPr>
          <p:spPr bwMode="gray">
            <a:xfrm>
              <a:off x="8924928" y="0"/>
              <a:ext cx="1487488" cy="6858000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C5EB745-0858-49CC-A0FE-29CBC776FA9E}"/>
                </a:ext>
              </a:extLst>
            </p:cNvPr>
            <p:cNvSpPr/>
            <p:nvPr userDrawn="1"/>
          </p:nvSpPr>
          <p:spPr bwMode="gray">
            <a:xfrm>
              <a:off x="7437440" y="0"/>
              <a:ext cx="1487488" cy="6858000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3533DD8-1C73-4E77-A25E-8DB502C51672}"/>
                </a:ext>
              </a:extLst>
            </p:cNvPr>
            <p:cNvSpPr/>
            <p:nvPr userDrawn="1"/>
          </p:nvSpPr>
          <p:spPr bwMode="gray">
            <a:xfrm>
              <a:off x="10412416" y="0"/>
              <a:ext cx="1487488" cy="6858000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1547A31-ABF2-495E-9F4B-8DFBF25E488D}"/>
                </a:ext>
              </a:extLst>
            </p:cNvPr>
            <p:cNvSpPr/>
            <p:nvPr userDrawn="1"/>
          </p:nvSpPr>
          <p:spPr bwMode="gray">
            <a:xfrm>
              <a:off x="11899905" y="0"/>
              <a:ext cx="1487488" cy="6858000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EB218CB-88C3-468E-AF95-E8FE5922C203}"/>
                </a:ext>
              </a:extLst>
            </p:cNvPr>
            <p:cNvSpPr/>
            <p:nvPr userDrawn="1"/>
          </p:nvSpPr>
          <p:spPr bwMode="gray">
            <a:xfrm>
              <a:off x="13387392" y="0"/>
              <a:ext cx="1487488" cy="685800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1" name="Datumsplatzhalter 1">
            <a:extLst>
              <a:ext uri="{FF2B5EF4-FFF2-40B4-BE49-F238E27FC236}">
                <a16:creationId xmlns:a16="http://schemas.microsoft.com/office/drawing/2014/main" id="{1A4D56CF-0343-4911-9D23-19D20CB0D9A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160919" y="6491733"/>
            <a:ext cx="457993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algn="r"/>
            <a:fld id="{6BCDC23B-10EB-4B9B-B7D4-ECDDC13DCDE0}" type="datetime1">
              <a:rPr lang="de-DE" smtClean="0"/>
              <a:t>2022-05-13</a:t>
            </a:fld>
            <a:endParaRPr lang="de-DE"/>
          </a:p>
        </p:txBody>
      </p:sp>
      <p:sp>
        <p:nvSpPr>
          <p:cNvPr id="32" name="Fußzeilenplatzhalter 5">
            <a:extLst>
              <a:ext uri="{FF2B5EF4-FFF2-40B4-BE49-F238E27FC236}">
                <a16:creationId xmlns:a16="http://schemas.microsoft.com/office/drawing/2014/main" id="{521C6FE0-7BD8-4269-AF19-F3EF4843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8401051" y="6491733"/>
            <a:ext cx="252253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Gas positions</a:t>
            </a:r>
            <a:endParaRPr lang="de-DE"/>
          </a:p>
        </p:txBody>
      </p:sp>
      <p:sp>
        <p:nvSpPr>
          <p:cNvPr id="33" name="Foliennummernplatzhalter 6">
            <a:extLst>
              <a:ext uri="{FF2B5EF4-FFF2-40B4-BE49-F238E27FC236}">
                <a16:creationId xmlns:a16="http://schemas.microsoft.com/office/drawing/2014/main" id="{ABB9D1A2-0A49-42C5-96D0-40A3E4DE8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725538" y="6491733"/>
            <a:ext cx="191824" cy="101671"/>
          </a:xfrm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9031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7A88C1D1-625C-4F4E-BECD-5CB70DEB7C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8 w 12192000"/>
              <a:gd name="connsiteY3" fmla="*/ 6858000 h 6858000"/>
              <a:gd name="connsiteX4" fmla="*/ 12191998 w 12192000"/>
              <a:gd name="connsiteY4" fmla="*/ 3429000 h 6858000"/>
              <a:gd name="connsiteX5" fmla="*/ 8518560 w 12192000"/>
              <a:gd name="connsiteY5" fmla="*/ 3429000 h 6858000"/>
              <a:gd name="connsiteX6" fmla="*/ 7608881 w 12192000"/>
              <a:gd name="connsiteY6" fmla="*/ 4338679 h 6858000"/>
              <a:gd name="connsiteX7" fmla="*/ 7608881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8" y="6858000"/>
                </a:lnTo>
                <a:lnTo>
                  <a:pt x="12191998" y="3429000"/>
                </a:lnTo>
                <a:lnTo>
                  <a:pt x="8518560" y="3429000"/>
                </a:lnTo>
                <a:cubicBezTo>
                  <a:pt x="8016158" y="3429000"/>
                  <a:pt x="7608881" y="3836277"/>
                  <a:pt x="7608881" y="4338679"/>
                </a:cubicBezTo>
                <a:lnTo>
                  <a:pt x="760888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6" y="2825750"/>
            <a:ext cx="6337300" cy="12160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titel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C1E5B9-FEB6-4AA6-BD6B-F927D33B7586}"/>
              </a:ext>
            </a:extLst>
          </p:cNvPr>
          <p:cNvGrpSpPr/>
          <p:nvPr userDrawn="1"/>
        </p:nvGrpSpPr>
        <p:grpSpPr>
          <a:xfrm>
            <a:off x="911225" y="1319215"/>
            <a:ext cx="1439910" cy="384176"/>
            <a:chOff x="464743" y="1368699"/>
            <a:chExt cx="2380058" cy="635012"/>
          </a:xfrm>
        </p:grpSpPr>
        <p:sp>
          <p:nvSpPr>
            <p:cNvPr id="13" name="Oval 5">
              <a:extLst>
                <a:ext uri="{FF2B5EF4-FFF2-40B4-BE49-F238E27FC236}">
                  <a16:creationId xmlns:a16="http://schemas.microsoft.com/office/drawing/2014/main" id="{A63FDF46-9240-4989-8BD0-C8E6ACCDA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CEEBEBB-AF39-4FA0-BF2A-C2F67F308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06779D2-753C-408C-8D8F-2EA69C718621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80064577-26DD-4C45-9CA7-CA84B299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9D448FEE-A734-446E-B740-78A968A27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888D8F5D-79D7-4B65-A82D-00FF784B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200D8BD-ED64-4635-B9AE-FBB6DE7A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4AF606B8-E6F5-4239-AF0E-C3B1CB66F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FA34997-3170-4E22-BE0E-39B040570F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0899F0A-43C2-4A2B-BB23-92FD4E59A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02B1808-6EF8-43A6-98A3-F218A9106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469321C-D642-4F96-AE63-CD87201D4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16">
                <a:extLst>
                  <a:ext uri="{FF2B5EF4-FFF2-40B4-BE49-F238E27FC236}">
                    <a16:creationId xmlns:a16="http://schemas.microsoft.com/office/drawing/2014/main" id="{4D226FE2-5036-43B8-8F8D-521582CD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5404" y="4483700"/>
            <a:ext cx="4963111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Nam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>
            <a:cxnSpLocks/>
          </p:cNvCxnSpPr>
          <p:nvPr userDrawn="1"/>
        </p:nvCxnSpPr>
        <p:spPr>
          <a:xfrm>
            <a:off x="2053928" y="4483700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eine Ecke abgerundet 4">
            <a:extLst>
              <a:ext uri="{FF2B5EF4-FFF2-40B4-BE49-F238E27FC236}">
                <a16:creationId xmlns:a16="http://schemas.microsoft.com/office/drawing/2014/main" id="{0BA872EC-5B2E-4929-AD92-88DAB6266A9E}"/>
              </a:ext>
            </a:extLst>
          </p:cNvPr>
          <p:cNvSpPr/>
          <p:nvPr userDrawn="1"/>
        </p:nvSpPr>
        <p:spPr>
          <a:xfrm flipH="1">
            <a:off x="7859179" y="3253843"/>
            <a:ext cx="4343397" cy="3614737"/>
          </a:xfrm>
          <a:prstGeom prst="round1Rect">
            <a:avLst>
              <a:gd name="adj" fmla="val 26529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75EBC14-2DC1-4EDF-B828-6BD98E3DDCBA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7583" y="4483700"/>
            <a:ext cx="904868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7795215B-F6E0-4D1B-A3C9-830375B74BB8}" type="datetime1">
              <a:rPr lang="de-DE" smtClean="0"/>
              <a:t>2022-05-13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6A11DD-5E08-4096-BA7B-A2496C1019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Gas positions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926201B-F022-402F-AD21-442CBEA104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696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A0E8ACE-F208-4580-9945-A7005B3E229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34DB811-0D8A-421A-9CDD-47BCA68CAF0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1225" y="6310313"/>
            <a:ext cx="1114412" cy="21600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/>
            </a:lvl1pPr>
          </a:lstStyle>
          <a:p>
            <a:pPr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fld id="{DBB3F92A-76D9-4E46-8A9F-985A20C6371B}" type="datetime1">
              <a:rPr lang="de-DE" smtClean="0"/>
              <a:t>2022-05-13</a:t>
            </a:fld>
            <a:endParaRPr lang="de-DE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A00D384B-B3AA-4CCF-85B7-8EDB1E746B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48524 w 12192000"/>
              <a:gd name="connsiteY3" fmla="*/ 6858000 h 6858000"/>
              <a:gd name="connsiteX4" fmla="*/ 7248524 w 12192000"/>
              <a:gd name="connsiteY4" fmla="*/ 4602507 h 6858000"/>
              <a:gd name="connsiteX5" fmla="*/ 6075018 w 12192000"/>
              <a:gd name="connsiteY5" fmla="*/ 3429000 h 6858000"/>
              <a:gd name="connsiteX6" fmla="*/ 317438 w 12192000"/>
              <a:gd name="connsiteY6" fmla="*/ 3429000 h 6858000"/>
              <a:gd name="connsiteX7" fmla="*/ 6677 w 12192000"/>
              <a:gd name="connsiteY7" fmla="*/ 3429000 h 6858000"/>
              <a:gd name="connsiteX8" fmla="*/ 0 w 12192000"/>
              <a:gd name="connsiteY8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48524" y="6858000"/>
                </a:lnTo>
                <a:lnTo>
                  <a:pt x="7248524" y="4602507"/>
                </a:lnTo>
                <a:cubicBezTo>
                  <a:pt x="7248524" y="3954397"/>
                  <a:pt x="6723127" y="3429000"/>
                  <a:pt x="6075018" y="3429000"/>
                </a:cubicBezTo>
                <a:lnTo>
                  <a:pt x="317438" y="3429000"/>
                </a:lnTo>
                <a:lnTo>
                  <a:pt x="6677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4318000"/>
            <a:ext cx="5184775" cy="1673225"/>
          </a:xfrm>
        </p:spPr>
        <p:txBody>
          <a:bodyPr anchor="t"/>
          <a:lstStyle>
            <a:lvl1pPr>
              <a:lnSpc>
                <a:spcPct val="80000"/>
              </a:lnSpc>
              <a:defRPr sz="5400"/>
            </a:lvl1pPr>
            <a:lvl2pPr>
              <a:lnSpc>
                <a:spcPct val="80000"/>
              </a:lnSpc>
              <a:defRPr sz="5400"/>
            </a:lvl2pPr>
            <a:lvl3pPr>
              <a:lnSpc>
                <a:spcPct val="80000"/>
              </a:lnSpc>
              <a:defRPr sz="5400"/>
            </a:lvl3pPr>
            <a:lvl4pPr>
              <a:lnSpc>
                <a:spcPct val="80000"/>
              </a:lnSpc>
              <a:defRPr sz="5400"/>
            </a:lvl4pPr>
            <a:lvl5pPr>
              <a:lnSpc>
                <a:spcPct val="80000"/>
              </a:lnSpc>
              <a:defRPr sz="5400"/>
            </a:lvl5pPr>
            <a:lvl6pPr>
              <a:lnSpc>
                <a:spcPct val="80000"/>
              </a:lnSpc>
              <a:defRPr sz="5400"/>
            </a:lvl6pPr>
            <a:lvl7pPr>
              <a:lnSpc>
                <a:spcPct val="80000"/>
              </a:lnSpc>
              <a:defRPr sz="5400"/>
            </a:lvl7pPr>
            <a:lvl8pPr>
              <a:lnSpc>
                <a:spcPct val="80000"/>
              </a:lnSpc>
              <a:defRPr sz="5400"/>
            </a:lvl8pPr>
            <a:lvl9pPr>
              <a:lnSpc>
                <a:spcPct val="80000"/>
              </a:lnSpc>
              <a:defRPr sz="5400"/>
            </a:lvl9pPr>
          </a:lstStyle>
          <a:p>
            <a:pPr lvl="0"/>
            <a:r>
              <a:rPr lang="de-DE"/>
              <a:t>Präsentations-</a:t>
            </a:r>
            <a:br>
              <a:rPr lang="de-DE"/>
            </a:br>
            <a:r>
              <a:rPr lang="de-DE" err="1"/>
              <a:t>titel</a:t>
            </a:r>
            <a:endParaRPr lang="de-DE"/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3575644-C415-4736-A0BA-E98385D01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79048" y="6310313"/>
            <a:ext cx="3816952" cy="216000"/>
          </a:xfrm>
        </p:spPr>
        <p:txBody>
          <a:bodyPr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buNone/>
              <a:defRPr sz="12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Sprecher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481B9A9-736B-4492-98F4-CFFBBB93D83D}"/>
              </a:ext>
            </a:extLst>
          </p:cNvPr>
          <p:cNvCxnSpPr/>
          <p:nvPr userDrawn="1"/>
        </p:nvCxnSpPr>
        <p:spPr>
          <a:xfrm>
            <a:off x="2083772" y="6310313"/>
            <a:ext cx="0" cy="17938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37FBB7-9757-4A42-823D-017F0EC58B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0759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483039-7586-475E-BC6A-3A8359872F8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0759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960630F4-9B55-45DF-825F-C409C8C4862C}"/>
              </a:ext>
            </a:extLst>
          </p:cNvPr>
          <p:cNvGrpSpPr/>
          <p:nvPr userDrawn="1"/>
        </p:nvGrpSpPr>
        <p:grpSpPr>
          <a:xfrm>
            <a:off x="911225" y="3830191"/>
            <a:ext cx="1011508" cy="269876"/>
            <a:chOff x="464743" y="1368699"/>
            <a:chExt cx="2380058" cy="635012"/>
          </a:xfrm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C35C7C36-CB92-44AC-B70C-E764CFAF7C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76FD8F2B-0E6F-4041-893F-F38564957F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DD16F6EB-D8C5-4769-A757-1355C9129604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E16AF8EA-BAED-4ADB-A064-AAB2A6D772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8A34DC58-A5E5-42EC-82F0-6668CC23F7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945DBB8B-F08D-4346-BDB9-5874D34099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358F3448-F75C-4B81-84F6-4293F5A6E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AFDBDFDA-3120-45A7-8904-C391627A0A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43FA59CA-D93C-4178-A594-4A20145B33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E406306F-CC62-47F1-91A4-27C6591D5A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7A2D090E-58D1-41D0-BF27-A29FA74B30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96258A70-8CE8-4628-9F59-64111CBC2B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A0AF6C91-3076-42CF-914D-26D1C6407B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71209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5A4CE6BF-C665-428A-8A94-D74142A2F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555456 h 6858000"/>
              <a:gd name="connsiteX3" fmla="*/ 12034223 w 12192000"/>
              <a:gd name="connsiteY3" fmla="*/ 5555456 h 6858000"/>
              <a:gd name="connsiteX4" fmla="*/ 12034202 w 12192000"/>
              <a:gd name="connsiteY4" fmla="*/ 5555455 h 6858000"/>
              <a:gd name="connsiteX5" fmla="*/ 2241392 w 12192000"/>
              <a:gd name="connsiteY5" fmla="*/ 5555455 h 6858000"/>
              <a:gd name="connsiteX6" fmla="*/ 1321594 w 12192000"/>
              <a:gd name="connsiteY6" fmla="*/ 6475253 h 6858000"/>
              <a:gd name="connsiteX7" fmla="*/ 1321594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555456"/>
                </a:lnTo>
                <a:lnTo>
                  <a:pt x="12034223" y="5555456"/>
                </a:lnTo>
                <a:lnTo>
                  <a:pt x="12034202" y="5555455"/>
                </a:lnTo>
                <a:lnTo>
                  <a:pt x="2241392" y="5555455"/>
                </a:lnTo>
                <a:cubicBezTo>
                  <a:pt x="1733402" y="5555455"/>
                  <a:pt x="1321594" y="5967263"/>
                  <a:pt x="1321594" y="6475253"/>
                </a:cubicBezTo>
                <a:lnTo>
                  <a:pt x="132159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944563"/>
            <a:ext cx="3095625" cy="647698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5633BB16-81E2-41BA-8DB1-CB4727975D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83113" y="1592261"/>
            <a:ext cx="381793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11506FDE-2E24-408A-9A98-EF162BACC1A3}"/>
              </a:ext>
            </a:extLst>
          </p:cNvPr>
          <p:cNvSpPr/>
          <p:nvPr userDrawn="1"/>
        </p:nvSpPr>
        <p:spPr>
          <a:xfrm flipH="1">
            <a:off x="1498068" y="5376330"/>
            <a:ext cx="10704512" cy="1492250"/>
          </a:xfrm>
          <a:custGeom>
            <a:avLst/>
            <a:gdLst>
              <a:gd name="connsiteX0" fmla="*/ 9783757 w 10704512"/>
              <a:gd name="connsiteY0" fmla="*/ 0 h 1492250"/>
              <a:gd name="connsiteX1" fmla="*/ 0 w 10704512"/>
              <a:gd name="connsiteY1" fmla="*/ 0 h 1492250"/>
              <a:gd name="connsiteX2" fmla="*/ 0 w 10704512"/>
              <a:gd name="connsiteY2" fmla="*/ 1492250 h 1492250"/>
              <a:gd name="connsiteX3" fmla="*/ 10704512 w 10704512"/>
              <a:gd name="connsiteY3" fmla="*/ 1492250 h 1492250"/>
              <a:gd name="connsiteX4" fmla="*/ 10704512 w 10704512"/>
              <a:gd name="connsiteY4" fmla="*/ 920755 h 1492250"/>
              <a:gd name="connsiteX5" fmla="*/ 9783757 w 10704512"/>
              <a:gd name="connsiteY5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04512" h="1492250">
                <a:moveTo>
                  <a:pt x="9783757" y="0"/>
                </a:moveTo>
                <a:lnTo>
                  <a:pt x="0" y="0"/>
                </a:lnTo>
                <a:lnTo>
                  <a:pt x="0" y="1492250"/>
                </a:lnTo>
                <a:lnTo>
                  <a:pt x="10704512" y="1492250"/>
                </a:lnTo>
                <a:lnTo>
                  <a:pt x="10704512" y="920755"/>
                </a:lnTo>
                <a:cubicBezTo>
                  <a:pt x="10704512" y="412236"/>
                  <a:pt x="10292276" y="0"/>
                  <a:pt x="978375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54916B7-58EF-4F08-A783-46F18118B6C0}"/>
              </a:ext>
            </a:extLst>
          </p:cNvPr>
          <p:cNvGrpSpPr/>
          <p:nvPr userDrawn="1"/>
        </p:nvGrpSpPr>
        <p:grpSpPr>
          <a:xfrm>
            <a:off x="10990764" y="364362"/>
            <a:ext cx="867864" cy="231551"/>
            <a:chOff x="464743" y="1368699"/>
            <a:chExt cx="2380058" cy="635012"/>
          </a:xfrm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9DF83FF6-AFE6-4555-90DE-0D3C163DA0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AE21AAB-E07B-47DA-AFD0-DEAA3D275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56AB8B5-4588-48C1-9C07-75640E26512E}"/>
                </a:ext>
              </a:extLst>
            </p:cNvPr>
            <p:cNvGrpSpPr/>
            <p:nvPr/>
          </p:nvGrpSpPr>
          <p:grpSpPr>
            <a:xfrm>
              <a:off x="1311219" y="1530570"/>
              <a:ext cx="1533582" cy="307588"/>
              <a:chOff x="3987943" y="2307132"/>
              <a:chExt cx="2607166" cy="522910"/>
            </a:xfrm>
          </p:grpSpPr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A71BD18E-6C07-411A-9495-8446904F7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26CCEDD4-2516-4002-A7DC-A59BA62F37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DF3B131D-3C13-42E0-9206-E171CCF5B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CC1A6517-C355-46B0-AAC1-F23094D15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2D282B2E-2815-47F9-A08C-655F1418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8966AAB2-499D-4B16-B74F-A313AB8B94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72DAECD8-27D3-4109-A6A0-3CDDC159E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34080E8D-32B8-4A2B-9398-55858DAB3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5">
                <a:extLst>
                  <a:ext uri="{FF2B5EF4-FFF2-40B4-BE49-F238E27FC236}">
                    <a16:creationId xmlns:a16="http://schemas.microsoft.com/office/drawing/2014/main" id="{F492BF34-88EE-4DF9-A3FA-1D74A5407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6" name="Freeform 16">
                <a:extLst>
                  <a:ext uri="{FF2B5EF4-FFF2-40B4-BE49-F238E27FC236}">
                    <a16:creationId xmlns:a16="http://schemas.microsoft.com/office/drawing/2014/main" id="{29342A22-C6BD-4A9B-BA64-C9BB74D81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39C62E-E45B-4DB0-8BDC-ADF35A7DD1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441895F-5CF4-44C5-8D13-C3F32524D753}" type="datetime1">
              <a:rPr lang="de-DE" smtClean="0"/>
              <a:t>2022-05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BDBB57-71E2-4418-B351-9C4643F67D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D621D8-7D75-456C-87F6-66D9307AC6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6541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9247478-3193-499B-A283-D437B7BC3F3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F99C6C7-A18A-4D1D-B042-D4DE941638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4287 w 12192000"/>
              <a:gd name="connsiteY1" fmla="*/ 0 h 6858000"/>
              <a:gd name="connsiteX2" fmla="*/ 731500 w 12192000"/>
              <a:gd name="connsiteY2" fmla="*/ 0 h 6858000"/>
              <a:gd name="connsiteX3" fmla="*/ 12192000 w 12192000"/>
              <a:gd name="connsiteY3" fmla="*/ 0 h 6858000"/>
              <a:gd name="connsiteX4" fmla="*/ 12192000 w 12192000"/>
              <a:gd name="connsiteY4" fmla="*/ 6858000 h 6858000"/>
              <a:gd name="connsiteX5" fmla="*/ 6096000 w 12192000"/>
              <a:gd name="connsiteY5" fmla="*/ 6858000 h 6858000"/>
              <a:gd name="connsiteX6" fmla="*/ 6096000 w 12192000"/>
              <a:gd name="connsiteY6" fmla="*/ 1629422 h 6858000"/>
              <a:gd name="connsiteX7" fmla="*/ 5088684 w 12192000"/>
              <a:gd name="connsiteY7" fmla="*/ 622106 h 6858000"/>
              <a:gd name="connsiteX8" fmla="*/ 731500 w 12192000"/>
              <a:gd name="connsiteY8" fmla="*/ 622106 h 6858000"/>
              <a:gd name="connsiteX9" fmla="*/ 14287 w 12192000"/>
              <a:gd name="connsiteY9" fmla="*/ 622106 h 6858000"/>
              <a:gd name="connsiteX10" fmla="*/ 0 w 12192000"/>
              <a:gd name="connsiteY10" fmla="*/ 62210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4287" y="0"/>
                </a:lnTo>
                <a:lnTo>
                  <a:pt x="731500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6096000" y="6858000"/>
                </a:lnTo>
                <a:lnTo>
                  <a:pt x="6096000" y="1629422"/>
                </a:lnTo>
                <a:cubicBezTo>
                  <a:pt x="6096000" y="1073097"/>
                  <a:pt x="5645009" y="622106"/>
                  <a:pt x="5088684" y="622106"/>
                </a:cubicBezTo>
                <a:lnTo>
                  <a:pt x="731500" y="622106"/>
                </a:lnTo>
                <a:lnTo>
                  <a:pt x="14287" y="622106"/>
                </a:lnTo>
                <a:lnTo>
                  <a:pt x="0" y="62210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1800000" tIns="0" bIns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1592263"/>
            <a:ext cx="3455987" cy="1223962"/>
          </a:xfrm>
        </p:spPr>
        <p:txBody>
          <a:bodyPr anchor="t"/>
          <a:lstStyle>
            <a:lvl1pPr>
              <a:defRPr sz="5400"/>
            </a:lvl1pPr>
            <a:lvl2pPr>
              <a:defRPr sz="5400"/>
            </a:lvl2pPr>
            <a:lvl3pPr>
              <a:defRPr sz="5400"/>
            </a:lvl3pPr>
            <a:lvl4pPr>
              <a:defRPr sz="5400"/>
            </a:lvl4pPr>
            <a:lvl5pPr>
              <a:defRPr sz="5400"/>
            </a:lvl5pPr>
            <a:lvl6pPr>
              <a:defRPr sz="5400"/>
            </a:lvl6pPr>
            <a:lvl7pPr>
              <a:defRPr sz="5400"/>
            </a:lvl7pPr>
            <a:lvl8pPr>
              <a:defRPr sz="5400"/>
            </a:lvl8pPr>
            <a:lvl9pPr>
              <a:defRPr sz="5400"/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85F76B8B-1FC5-4521-AD1F-6A3F92AE39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7488" y="2816225"/>
            <a:ext cx="3455987" cy="3673475"/>
          </a:xfrm>
        </p:spPr>
        <p:txBody>
          <a:bodyPr/>
          <a:lstStyle>
            <a:lvl1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  <a:lvl2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2pPr>
            <a:lvl3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3pPr>
            <a:lvl4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4pPr>
            <a:lvl5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5pPr>
            <a:lvl6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6pPr>
            <a:lvl7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7pPr>
            <a:lvl8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8pPr>
            <a:lvl9pPr marL="252000" indent="-252000">
              <a:lnSpc>
                <a:spcPct val="150000"/>
              </a:lnSpc>
              <a:buSzPct val="90000"/>
              <a:buFont typeface="Inter Semi Bold" panose="020B0702030000000004" pitchFamily="34" charset="0"/>
              <a:buChar char="○"/>
              <a:defRPr sz="1600" b="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9pPr>
          </a:lstStyle>
          <a:p>
            <a:pPr lvl="0"/>
            <a:r>
              <a:rPr lang="de-DE"/>
              <a:t>Ers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Zwei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Drit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Vierter </a:t>
            </a:r>
            <a:r>
              <a:rPr lang="de-DE" err="1"/>
              <a:t>Agendapunkt</a:t>
            </a:r>
            <a:endParaRPr lang="de-DE"/>
          </a:p>
          <a:p>
            <a:pPr lvl="0"/>
            <a:r>
              <a:rPr lang="de-DE"/>
              <a:t>Fünfte Ebene für Aufzählungen</a:t>
            </a:r>
          </a:p>
          <a:p>
            <a:pPr lvl="0"/>
            <a:r>
              <a:rPr lang="de-DE"/>
              <a:t>Sechste Ebene für Highligh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54598E-FC50-496C-9931-8DA549B04D5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1160919" y="7101333"/>
            <a:ext cx="457993" cy="101671"/>
          </a:xfrm>
        </p:spPr>
        <p:txBody>
          <a:bodyPr/>
          <a:lstStyle/>
          <a:p>
            <a:pPr algn="r"/>
            <a:fld id="{48F12D09-3227-4907-92D4-CD7B44FE9D6B}" type="datetime1">
              <a:rPr lang="de-DE" smtClean="0"/>
              <a:t>2022-05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3E8894-DCFC-4586-95EE-4E7F5B6973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401051" y="71013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6E9F1-F3BA-4241-A2AA-E1B75550C1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725538" y="71013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4" name="Textplatzhalter 117">
            <a:extLst>
              <a:ext uri="{FF2B5EF4-FFF2-40B4-BE49-F238E27FC236}">
                <a16:creationId xmlns:a16="http://schemas.microsoft.com/office/drawing/2014/main" id="{27728EDC-9F95-41EC-A4B7-522A95BE7C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990764" y="366946"/>
            <a:ext cx="866274" cy="22896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+mj-lt"/>
              <a:buNone/>
              <a:defRPr sz="100">
                <a:noFill/>
              </a:defRPr>
            </a:lvl1pPr>
            <a:lvl2pPr marL="0" indent="0">
              <a:buFont typeface="+mj-lt"/>
              <a:buNone/>
              <a:defRPr sz="100">
                <a:noFill/>
              </a:defRPr>
            </a:lvl2pPr>
            <a:lvl3pPr marL="0" indent="0">
              <a:buFont typeface="+mj-lt"/>
              <a:buNone/>
              <a:defRPr sz="100">
                <a:noFill/>
              </a:defRPr>
            </a:lvl3pPr>
            <a:lvl4pPr marL="0" indent="0">
              <a:buFont typeface="+mj-lt"/>
              <a:buNone/>
              <a:defRPr sz="100">
                <a:noFill/>
              </a:defRPr>
            </a:lvl4pPr>
            <a:lvl5pPr marL="0" indent="0">
              <a:buFont typeface="+mj-lt"/>
              <a:buNone/>
              <a:defRPr sz="100">
                <a:noFill/>
              </a:defRPr>
            </a:lvl5pPr>
            <a:lvl6pPr marL="0" indent="0">
              <a:buFont typeface="+mj-lt"/>
              <a:buNone/>
              <a:defRPr sz="100">
                <a:noFill/>
              </a:defRPr>
            </a:lvl6pPr>
            <a:lvl7pPr marL="0" indent="0">
              <a:buFont typeface="+mj-lt"/>
              <a:buNone/>
              <a:defRPr sz="100">
                <a:noFill/>
              </a:defRPr>
            </a:lvl7pPr>
            <a:lvl8pPr marL="0" indent="0">
              <a:buFont typeface="+mj-lt"/>
              <a:buNone/>
              <a:defRPr sz="100">
                <a:noFill/>
              </a:defRPr>
            </a:lvl8pPr>
            <a:lvl9pPr marL="0" indent="0">
              <a:buFont typeface="+mj-lt"/>
              <a:buNone/>
              <a:defRPr sz="1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4314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72AF896-135A-4A96-A537-178BCF5D84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0704513 w 12192000"/>
              <a:gd name="connsiteY3" fmla="*/ 6858000 h 6858000"/>
              <a:gd name="connsiteX4" fmla="*/ 10704513 w 12192000"/>
              <a:gd name="connsiteY4" fmla="*/ 2789980 h 6858000"/>
              <a:gd name="connsiteX5" fmla="*/ 9735713 w 12192000"/>
              <a:gd name="connsiteY5" fmla="*/ 1821180 h 6858000"/>
              <a:gd name="connsiteX6" fmla="*/ 0 w 12192000"/>
              <a:gd name="connsiteY6" fmla="*/ 18211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704513" y="6858000"/>
                </a:lnTo>
                <a:lnTo>
                  <a:pt x="10704513" y="2789980"/>
                </a:lnTo>
                <a:cubicBezTo>
                  <a:pt x="10704513" y="2254927"/>
                  <a:pt x="10270766" y="1821180"/>
                  <a:pt x="9735713" y="1821180"/>
                </a:cubicBezTo>
                <a:lnTo>
                  <a:pt x="0" y="182118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B9B356D-077B-4EA8-8CD9-172297E20735}"/>
              </a:ext>
            </a:extLst>
          </p:cNvPr>
          <p:cNvSpPr/>
          <p:nvPr userDrawn="1"/>
        </p:nvSpPr>
        <p:spPr>
          <a:xfrm>
            <a:off x="-10580" y="1603901"/>
            <a:ext cx="10892824" cy="5265737"/>
          </a:xfrm>
          <a:custGeom>
            <a:avLst/>
            <a:gdLst>
              <a:gd name="connsiteX0" fmla="*/ 0 w 10892824"/>
              <a:gd name="connsiteY0" fmla="*/ 0 h 5265737"/>
              <a:gd name="connsiteX1" fmla="*/ 9854153 w 10892824"/>
              <a:gd name="connsiteY1" fmla="*/ 0 h 5265737"/>
              <a:gd name="connsiteX2" fmla="*/ 10892824 w 10892824"/>
              <a:gd name="connsiteY2" fmla="*/ 1038671 h 5265737"/>
              <a:gd name="connsiteX3" fmla="*/ 10892824 w 10892824"/>
              <a:gd name="connsiteY3" fmla="*/ 5265737 h 5265737"/>
              <a:gd name="connsiteX4" fmla="*/ 0 w 10892824"/>
              <a:gd name="connsiteY4" fmla="*/ 5265737 h 526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2824" h="5265737">
                <a:moveTo>
                  <a:pt x="0" y="0"/>
                </a:moveTo>
                <a:lnTo>
                  <a:pt x="9854153" y="0"/>
                </a:lnTo>
                <a:cubicBezTo>
                  <a:pt x="10427795" y="0"/>
                  <a:pt x="10892824" y="465029"/>
                  <a:pt x="10892824" y="1038671"/>
                </a:cubicBezTo>
                <a:lnTo>
                  <a:pt x="10892824" y="5265737"/>
                </a:lnTo>
                <a:lnTo>
                  <a:pt x="0" y="5265737"/>
                </a:ln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de-DE" sz="1200">
              <a:solidFill>
                <a:sysClr val="windowText" lastClr="000000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F693C21-4507-4F3E-81F3-C5129BC124FB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9C338AFF-E703-4949-85EC-CB4644E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52C4243-738B-4049-BDED-CD4B6AA6E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5CF87B07-4289-49FF-9D93-5E50076EA829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0B6C66D2-26E8-4D8C-B008-A5821EDA6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2E3DC62B-3FCB-4F68-BE4D-EE46C674C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51A77AC-8B30-43FC-8D49-FE6CFBBF2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6558BEF-9E49-44A2-91FA-86FF532E4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0" name="Freeform 11">
                <a:extLst>
                  <a:ext uri="{FF2B5EF4-FFF2-40B4-BE49-F238E27FC236}">
                    <a16:creationId xmlns:a16="http://schemas.microsoft.com/office/drawing/2014/main" id="{8E243C08-9029-4757-B58F-2B10ED5ED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1" name="Freeform 12">
                <a:extLst>
                  <a:ext uri="{FF2B5EF4-FFF2-40B4-BE49-F238E27FC236}">
                    <a16:creationId xmlns:a16="http://schemas.microsoft.com/office/drawing/2014/main" id="{551DA8B8-ABFE-424A-915B-1F8F10DC4C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2" name="Freeform 13">
                <a:extLst>
                  <a:ext uri="{FF2B5EF4-FFF2-40B4-BE49-F238E27FC236}">
                    <a16:creationId xmlns:a16="http://schemas.microsoft.com/office/drawing/2014/main" id="{BE56415D-81F1-4E23-80F6-F742A96E6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3" name="Freeform 14">
                <a:extLst>
                  <a:ext uri="{FF2B5EF4-FFF2-40B4-BE49-F238E27FC236}">
                    <a16:creationId xmlns:a16="http://schemas.microsoft.com/office/drawing/2014/main" id="{0F7D23C0-88E4-43F4-AF63-A90A4D971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4" name="Freeform 15">
                <a:extLst>
                  <a:ext uri="{FF2B5EF4-FFF2-40B4-BE49-F238E27FC236}">
                    <a16:creationId xmlns:a16="http://schemas.microsoft.com/office/drawing/2014/main" id="{8104E26D-3B4A-471C-811A-D9D06E67E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35" name="Freeform 16">
                <a:extLst>
                  <a:ext uri="{FF2B5EF4-FFF2-40B4-BE49-F238E27FC236}">
                    <a16:creationId xmlns:a16="http://schemas.microsoft.com/office/drawing/2014/main" id="{CB8C91E4-CA6C-4E38-B0E9-648EC3A0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EDF9A70-399E-4529-A7DB-A038CFBA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60919" y="7025133"/>
            <a:ext cx="457993" cy="101671"/>
          </a:xfrm>
        </p:spPr>
        <p:txBody>
          <a:bodyPr/>
          <a:lstStyle/>
          <a:p>
            <a:pPr algn="r"/>
            <a:fld id="{6C5B1731-6960-44DB-AE61-0CCBA9945CF4}" type="datetime1">
              <a:rPr lang="de-DE" smtClean="0"/>
              <a:t>2022-05-1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4C1970-862A-40A2-A410-8A18C19CA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1051" y="7025133"/>
            <a:ext cx="2522534" cy="101671"/>
          </a:xfrm>
        </p:spPr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3A8B34-701D-49AF-8DAE-5BB05BEE9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5538" y="7025133"/>
            <a:ext cx="191824" cy="101671"/>
          </a:xfrm>
        </p:spPr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639D86B9-94E0-4C8A-A9A2-B2DD0C8D5E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7" y="3429000"/>
            <a:ext cx="6121401" cy="1836738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4000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1"/>
                </a:solidFill>
              </a:defRPr>
            </a:lvl3pPr>
            <a:lvl4pPr>
              <a:defRPr sz="4000">
                <a:solidFill>
                  <a:schemeClr val="bg1"/>
                </a:solidFill>
              </a:defRPr>
            </a:lvl4pPr>
            <a:lvl5pPr>
              <a:defRPr sz="4000">
                <a:solidFill>
                  <a:schemeClr val="bg1"/>
                </a:solidFill>
              </a:defRPr>
            </a:lvl5pPr>
            <a:lvl6pPr>
              <a:defRPr sz="4000">
                <a:solidFill>
                  <a:schemeClr val="bg1"/>
                </a:solidFill>
              </a:defRPr>
            </a:lvl6pPr>
            <a:lvl7pPr>
              <a:defRPr sz="4000">
                <a:solidFill>
                  <a:schemeClr val="bg1"/>
                </a:solidFill>
              </a:defRPr>
            </a:lvl7pPr>
            <a:lvl8pPr>
              <a:defRPr sz="4000">
                <a:solidFill>
                  <a:schemeClr val="bg1"/>
                </a:solidFill>
              </a:defRPr>
            </a:lvl8pPr>
            <a:lvl9pPr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itel für das nächste Kapitel bitte hier einfügen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14C6B305-C6DD-4DD5-B772-1A64FDF8A8CE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487487" y="5265738"/>
            <a:ext cx="6121401" cy="1225995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723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19BAEC9-FD66-4F21-8513-21AE499E07F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err="1">
              <a:solidFill>
                <a:sysClr val="windowText" lastClr="000000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CBC99B-E8C6-4051-A9E9-0C624C40229F}"/>
              </a:ext>
            </a:extLst>
          </p:cNvPr>
          <p:cNvGrpSpPr/>
          <p:nvPr userDrawn="1"/>
        </p:nvGrpSpPr>
        <p:grpSpPr>
          <a:xfrm>
            <a:off x="10990764" y="364362"/>
            <a:ext cx="867863" cy="231551"/>
            <a:chOff x="464743" y="1368699"/>
            <a:chExt cx="2380057" cy="635012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DED38C07-9A75-471C-B61E-C6B17EDCE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BAC15C1-136D-42F8-A7B6-CB480B5AA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5361738-16C3-40AC-A788-EA9036EDBAFB}"/>
                </a:ext>
              </a:extLst>
            </p:cNvPr>
            <p:cNvGrpSpPr/>
            <p:nvPr/>
          </p:nvGrpSpPr>
          <p:grpSpPr>
            <a:xfrm>
              <a:off x="1311218" y="1530575"/>
              <a:ext cx="1533582" cy="307589"/>
              <a:chOff x="3987943" y="2307132"/>
              <a:chExt cx="2607166" cy="522910"/>
            </a:xfrm>
          </p:grpSpPr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C5DC918-EA52-4FC3-8A01-3388FE6CF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ABB1E81B-393E-4C03-A0F0-5DA085524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7334091F-5E16-47D4-8265-3B4609443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9FF719ED-D4C1-4360-BAB4-26734998B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B50B74DF-1EDF-4E89-A0F2-3DE62F502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5C0C5D5-9E4D-47B8-811F-7E74CC67DA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86D4DD4-8682-4840-A450-295468F32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0DDC3BB0-F3F9-4D74-A613-68E6E9CAF4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529D01BE-1D12-43D9-9580-7DD60A4AB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C99B43FC-7A0B-486C-995F-A1615F010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sp>
        <p:nvSpPr>
          <p:cNvPr id="3" name="Untertitel 2">
            <a:extLst>
              <a:ext uri="{FF2B5EF4-FFF2-40B4-BE49-F238E27FC236}">
                <a16:creationId xmlns:a16="http://schemas.microsoft.com/office/drawing/2014/main" id="{3B2F4070-1FD5-4AA5-814E-B037EDDBD6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48524" y="3428999"/>
            <a:ext cx="3455989" cy="1836738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buNone/>
              <a:defRPr sz="1600">
                <a:latin typeface="+mj-lt"/>
              </a:defRPr>
            </a:lvl2pPr>
            <a:lvl3pPr marL="0" indent="0" algn="l">
              <a:lnSpc>
                <a:spcPct val="100000"/>
              </a:lnSpc>
              <a:buNone/>
              <a:defRPr sz="1600">
                <a:latin typeface="+mj-lt"/>
              </a:defRPr>
            </a:lvl3pPr>
            <a:lvl4pPr marL="0" indent="0" algn="l">
              <a:lnSpc>
                <a:spcPct val="100000"/>
              </a:lnSpc>
              <a:buNone/>
              <a:tabLst/>
              <a:defRPr sz="1600">
                <a:latin typeface="+mj-lt"/>
              </a:defRPr>
            </a:lvl4pPr>
            <a:lvl5pPr marL="0" indent="0" algn="l">
              <a:lnSpc>
                <a:spcPct val="100000"/>
              </a:lnSpc>
              <a:buNone/>
              <a:defRPr sz="1600">
                <a:latin typeface="+mj-lt"/>
              </a:defRPr>
            </a:lvl5pPr>
            <a:lvl6pPr marL="0" indent="0" algn="l">
              <a:buNone/>
              <a:defRPr sz="1600">
                <a:latin typeface="+mj-lt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7pPr>
            <a:lvl8pPr marL="0" indent="0" algn="l">
              <a:buNone/>
              <a:defRPr sz="1600">
                <a:latin typeface="+mj-lt"/>
              </a:defRPr>
            </a:lvl8pPr>
            <a:lvl9pPr marL="0" indent="0" algn="l">
              <a:buNone/>
              <a:defRPr sz="1600">
                <a:latin typeface="+mj-lt"/>
              </a:defRPr>
            </a:lvl9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102B10-2392-4CD8-AF7E-255159781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524" y="1592263"/>
            <a:ext cx="3455989" cy="1836736"/>
          </a:xfrm>
        </p:spPr>
        <p:txBody>
          <a:bodyPr anchor="t"/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de-DE"/>
              <a:t>Kapitel- </a:t>
            </a:r>
            <a:r>
              <a:rPr lang="de-DE" err="1"/>
              <a:t>überschrift</a:t>
            </a:r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9782B2D3-3015-47F5-901D-035A84A380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96000" cy="6223000"/>
          </a:xfrm>
          <a:custGeom>
            <a:avLst/>
            <a:gdLst>
              <a:gd name="connsiteX0" fmla="*/ 0 w 6096000"/>
              <a:gd name="connsiteY0" fmla="*/ 0 h 6223000"/>
              <a:gd name="connsiteX1" fmla="*/ 6096000 w 6096000"/>
              <a:gd name="connsiteY1" fmla="*/ 0 h 6223000"/>
              <a:gd name="connsiteX2" fmla="*/ 6096000 w 6096000"/>
              <a:gd name="connsiteY2" fmla="*/ 5356758 h 6223000"/>
              <a:gd name="connsiteX3" fmla="*/ 5229758 w 6096000"/>
              <a:gd name="connsiteY3" fmla="*/ 6223000 h 6223000"/>
              <a:gd name="connsiteX4" fmla="*/ 0 w 6096000"/>
              <a:gd name="connsiteY4" fmla="*/ 6223000 h 622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223000">
                <a:moveTo>
                  <a:pt x="0" y="0"/>
                </a:moveTo>
                <a:lnTo>
                  <a:pt x="6096000" y="0"/>
                </a:lnTo>
                <a:lnTo>
                  <a:pt x="6096000" y="5356758"/>
                </a:lnTo>
                <a:cubicBezTo>
                  <a:pt x="6096000" y="5835170"/>
                  <a:pt x="5708170" y="6223000"/>
                  <a:pt x="5229758" y="6223000"/>
                </a:cubicBezTo>
                <a:lnTo>
                  <a:pt x="0" y="6223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bIns="72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70B864-D8FD-472B-9A86-77DCF86B9E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87B8EA18-C809-47AF-A907-B04D6710DDB8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28D540-C8DE-4034-A254-7BB58C165E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89D174-75D8-4071-AA9C-8B2BD14EC0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256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9.x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29" Type="http://schemas.openxmlformats.org/officeDocument/2006/relationships/slideLayout" Target="../slideLayouts/slideLayout62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31" Type="http://schemas.openxmlformats.org/officeDocument/2006/relationships/slideLayout" Target="../slideLayouts/slideLayout64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60.xml"/><Relationship Id="rId30" Type="http://schemas.openxmlformats.org/officeDocument/2006/relationships/slideLayout" Target="../slideLayouts/slideLayout6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slideLayout" Target="../slideLayouts/slideLayout90.xml"/><Relationship Id="rId3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85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slideLayout" Target="../slideLayouts/slideLayout89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29" Type="http://schemas.openxmlformats.org/officeDocument/2006/relationships/slideLayout" Target="../slideLayouts/slideLayout93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slideLayout" Target="../slideLayouts/slideLayout88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28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slideLayout" Target="../slideLayouts/slideLayout91.xml"/><Relationship Id="rId30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6.xml"/><Relationship Id="rId18" Type="http://schemas.openxmlformats.org/officeDocument/2006/relationships/slideLayout" Target="../slideLayouts/slideLayout111.xml"/><Relationship Id="rId26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96.xml"/><Relationship Id="rId21" Type="http://schemas.openxmlformats.org/officeDocument/2006/relationships/slideLayout" Target="../slideLayouts/slideLayout114.xml"/><Relationship Id="rId34" Type="http://schemas.openxmlformats.org/officeDocument/2006/relationships/theme" Target="../theme/theme4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17" Type="http://schemas.openxmlformats.org/officeDocument/2006/relationships/slideLayout" Target="../slideLayouts/slideLayout110.xml"/><Relationship Id="rId25" Type="http://schemas.openxmlformats.org/officeDocument/2006/relationships/slideLayout" Target="../slideLayouts/slideLayout118.xml"/><Relationship Id="rId33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95.xml"/><Relationship Id="rId16" Type="http://schemas.openxmlformats.org/officeDocument/2006/relationships/slideLayout" Target="../slideLayouts/slideLayout109.xml"/><Relationship Id="rId20" Type="http://schemas.openxmlformats.org/officeDocument/2006/relationships/slideLayout" Target="../slideLayouts/slideLayout113.xml"/><Relationship Id="rId29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24" Type="http://schemas.openxmlformats.org/officeDocument/2006/relationships/slideLayout" Target="../slideLayouts/slideLayout117.xml"/><Relationship Id="rId32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98.xml"/><Relationship Id="rId15" Type="http://schemas.openxmlformats.org/officeDocument/2006/relationships/slideLayout" Target="../slideLayouts/slideLayout108.xml"/><Relationship Id="rId23" Type="http://schemas.openxmlformats.org/officeDocument/2006/relationships/slideLayout" Target="../slideLayouts/slideLayout116.xml"/><Relationship Id="rId28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03.xml"/><Relationship Id="rId19" Type="http://schemas.openxmlformats.org/officeDocument/2006/relationships/slideLayout" Target="../slideLayouts/slideLayout112.xml"/><Relationship Id="rId31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slideLayout" Target="../slideLayouts/slideLayout107.xml"/><Relationship Id="rId22" Type="http://schemas.openxmlformats.org/officeDocument/2006/relationships/slideLayout" Target="../slideLayouts/slideLayout115.xml"/><Relationship Id="rId27" Type="http://schemas.openxmlformats.org/officeDocument/2006/relationships/slideLayout" Target="../slideLayouts/slideLayout120.xml"/><Relationship Id="rId30" Type="http://schemas.openxmlformats.org/officeDocument/2006/relationships/slideLayout" Target="../slideLayouts/slideLayout123.xml"/><Relationship Id="rId8" Type="http://schemas.openxmlformats.org/officeDocument/2006/relationships/slideLayout" Target="../slideLayouts/slideLayout10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13" Type="http://schemas.openxmlformats.org/officeDocument/2006/relationships/slideLayout" Target="../slideLayouts/slideLayout139.xml"/><Relationship Id="rId18" Type="http://schemas.openxmlformats.org/officeDocument/2006/relationships/slideLayout" Target="../slideLayouts/slideLayout144.xml"/><Relationship Id="rId26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29.xml"/><Relationship Id="rId21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33.xml"/><Relationship Id="rId12" Type="http://schemas.openxmlformats.org/officeDocument/2006/relationships/slideLayout" Target="../slideLayouts/slideLayout138.xml"/><Relationship Id="rId17" Type="http://schemas.openxmlformats.org/officeDocument/2006/relationships/slideLayout" Target="../slideLayouts/slideLayout143.xml"/><Relationship Id="rId25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128.xml"/><Relationship Id="rId16" Type="http://schemas.openxmlformats.org/officeDocument/2006/relationships/slideLayout" Target="../slideLayouts/slideLayout142.xml"/><Relationship Id="rId20" Type="http://schemas.openxmlformats.org/officeDocument/2006/relationships/slideLayout" Target="../slideLayouts/slideLayout146.xml"/><Relationship Id="rId29" Type="http://schemas.openxmlformats.org/officeDocument/2006/relationships/slideLayout" Target="../slideLayouts/slideLayout155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slideLayout" Target="../slideLayouts/slideLayout137.xml"/><Relationship Id="rId24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31.xml"/><Relationship Id="rId15" Type="http://schemas.openxmlformats.org/officeDocument/2006/relationships/slideLayout" Target="../slideLayouts/slideLayout141.xml"/><Relationship Id="rId23" Type="http://schemas.openxmlformats.org/officeDocument/2006/relationships/slideLayout" Target="../slideLayouts/slideLayout149.xml"/><Relationship Id="rId28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36.xml"/><Relationship Id="rId19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Relationship Id="rId14" Type="http://schemas.openxmlformats.org/officeDocument/2006/relationships/slideLayout" Target="../slideLayouts/slideLayout140.xml"/><Relationship Id="rId22" Type="http://schemas.openxmlformats.org/officeDocument/2006/relationships/slideLayout" Target="../slideLayouts/slideLayout148.xml"/><Relationship Id="rId27" Type="http://schemas.openxmlformats.org/officeDocument/2006/relationships/slideLayout" Target="../slideLayouts/slideLayout153.xml"/><Relationship Id="rId30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8.xml"/><Relationship Id="rId18" Type="http://schemas.openxmlformats.org/officeDocument/2006/relationships/slideLayout" Target="../slideLayouts/slideLayout173.xml"/><Relationship Id="rId26" Type="http://schemas.openxmlformats.org/officeDocument/2006/relationships/slideLayout" Target="../slideLayouts/slideLayout181.xml"/><Relationship Id="rId3" Type="http://schemas.openxmlformats.org/officeDocument/2006/relationships/slideLayout" Target="../slideLayouts/slideLayout158.xml"/><Relationship Id="rId21" Type="http://schemas.openxmlformats.org/officeDocument/2006/relationships/slideLayout" Target="../slideLayouts/slideLayout176.xml"/><Relationship Id="rId34" Type="http://schemas.openxmlformats.org/officeDocument/2006/relationships/oleObject" Target="../embeddings/oleObject7.bin"/><Relationship Id="rId7" Type="http://schemas.openxmlformats.org/officeDocument/2006/relationships/slideLayout" Target="../slideLayouts/slideLayout162.xml"/><Relationship Id="rId12" Type="http://schemas.openxmlformats.org/officeDocument/2006/relationships/slideLayout" Target="../slideLayouts/slideLayout167.xml"/><Relationship Id="rId17" Type="http://schemas.openxmlformats.org/officeDocument/2006/relationships/slideLayout" Target="../slideLayouts/slideLayout172.xml"/><Relationship Id="rId25" Type="http://schemas.openxmlformats.org/officeDocument/2006/relationships/slideLayout" Target="../slideLayouts/slideLayout180.xml"/><Relationship Id="rId33" Type="http://schemas.openxmlformats.org/officeDocument/2006/relationships/tags" Target="../tags/tag10.xml"/><Relationship Id="rId2" Type="http://schemas.openxmlformats.org/officeDocument/2006/relationships/slideLayout" Target="../slideLayouts/slideLayout157.xml"/><Relationship Id="rId16" Type="http://schemas.openxmlformats.org/officeDocument/2006/relationships/slideLayout" Target="../slideLayouts/slideLayout171.xml"/><Relationship Id="rId20" Type="http://schemas.openxmlformats.org/officeDocument/2006/relationships/slideLayout" Target="../slideLayouts/slideLayout175.xml"/><Relationship Id="rId29" Type="http://schemas.openxmlformats.org/officeDocument/2006/relationships/slideLayout" Target="../slideLayouts/slideLayout184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24" Type="http://schemas.openxmlformats.org/officeDocument/2006/relationships/slideLayout" Target="../slideLayouts/slideLayout179.xml"/><Relationship Id="rId32" Type="http://schemas.openxmlformats.org/officeDocument/2006/relationships/tags" Target="../tags/tag9.xml"/><Relationship Id="rId5" Type="http://schemas.openxmlformats.org/officeDocument/2006/relationships/slideLayout" Target="../slideLayouts/slideLayout160.xml"/><Relationship Id="rId15" Type="http://schemas.openxmlformats.org/officeDocument/2006/relationships/slideLayout" Target="../slideLayouts/slideLayout170.xml"/><Relationship Id="rId23" Type="http://schemas.openxmlformats.org/officeDocument/2006/relationships/slideLayout" Target="../slideLayouts/slideLayout178.xml"/><Relationship Id="rId28" Type="http://schemas.openxmlformats.org/officeDocument/2006/relationships/slideLayout" Target="../slideLayouts/slideLayout183.xml"/><Relationship Id="rId10" Type="http://schemas.openxmlformats.org/officeDocument/2006/relationships/slideLayout" Target="../slideLayouts/slideLayout165.xml"/><Relationship Id="rId19" Type="http://schemas.openxmlformats.org/officeDocument/2006/relationships/slideLayout" Target="../slideLayouts/slideLayout174.xml"/><Relationship Id="rId31" Type="http://schemas.openxmlformats.org/officeDocument/2006/relationships/vmlDrawing" Target="../drawings/vmlDrawing7.v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Relationship Id="rId14" Type="http://schemas.openxmlformats.org/officeDocument/2006/relationships/slideLayout" Target="../slideLayouts/slideLayout169.xml"/><Relationship Id="rId22" Type="http://schemas.openxmlformats.org/officeDocument/2006/relationships/slideLayout" Target="../slideLayouts/slideLayout177.xml"/><Relationship Id="rId27" Type="http://schemas.openxmlformats.org/officeDocument/2006/relationships/slideLayout" Target="../slideLayouts/slideLayout182.xml"/><Relationship Id="rId30" Type="http://schemas.openxmlformats.org/officeDocument/2006/relationships/theme" Target="../theme/theme6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1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9F119D21-93CC-4B94-AACE-532286250DAA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Gas positions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4D88CDC6-5388-456A-9720-DC3DB88D03E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6">
            <a:extLst>
              <a:ext uri="{FF2B5EF4-FFF2-40B4-BE49-F238E27FC236}">
                <a16:creationId xmlns:a16="http://schemas.microsoft.com/office/drawing/2014/main" id="{D1454764-EFB9-4832-B2A4-C4ACCC03E15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6" name="Objekt 14" hidden="1">
            <a:extLst>
              <a:ext uri="{FF2B5EF4-FFF2-40B4-BE49-F238E27FC236}">
                <a16:creationId xmlns:a16="http://schemas.microsoft.com/office/drawing/2014/main" id="{1BFDCA5D-BBB2-4BB3-B133-E8A0ECF065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794239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38" imgW="344" imgH="345" progId="TCLayout.ActiveDocument.1">
                  <p:embed/>
                </p:oleObj>
              </mc:Choice>
              <mc:Fallback>
                <p:oleObj name="think-cell Folie" r:id="rId38" imgW="344" imgH="345" progId="TCLayout.ActiveDocument.1">
                  <p:embed/>
                  <p:pic>
                    <p:nvPicPr>
                      <p:cNvPr id="46" name="Objekt 14" hidden="1">
                        <a:extLst>
                          <a:ext uri="{FF2B5EF4-FFF2-40B4-BE49-F238E27FC236}">
                            <a16:creationId xmlns:a16="http://schemas.microsoft.com/office/drawing/2014/main" id="{1BFDCA5D-BBB2-4BB3-B133-E8A0ECF065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hteck 13" hidden="1">
            <a:extLst>
              <a:ext uri="{FF2B5EF4-FFF2-40B4-BE49-F238E27FC236}">
                <a16:creationId xmlns:a16="http://schemas.microsoft.com/office/drawing/2014/main" id="{65ADB6CE-57D6-410A-915E-BB6DF3B97572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200" b="0" i="0" baseline="0">
              <a:latin typeface="Franklin Gothic Medium" panose="020B0603020102020204" pitchFamily="34" charset="0"/>
              <a:ea typeface="+mj-ea"/>
              <a:cs typeface="+mj-cs"/>
              <a:sym typeface="Franklin Gothic Medium" panose="020B0603020102020204" pitchFamily="34" charset="0"/>
            </a:endParaRPr>
          </a:p>
        </p:txBody>
      </p:sp>
      <p:sp>
        <p:nvSpPr>
          <p:cNvPr id="50" name="Titel 1">
            <a:extLst>
              <a:ext uri="{FF2B5EF4-FFF2-40B4-BE49-F238E27FC236}">
                <a16:creationId xmlns:a16="http://schemas.microsoft.com/office/drawing/2014/main" id="{E3DE531E-067D-492E-8281-5AE2C1C14B8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71364" y="6495967"/>
            <a:ext cx="810603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900">
                <a:solidFill>
                  <a:schemeClr val="tx2"/>
                </a:solidFill>
                <a:latin typeface="+mn-lt"/>
              </a:rPr>
              <a:t>LichtBlick SE</a:t>
            </a:r>
          </a:p>
        </p:txBody>
      </p:sp>
      <p:sp>
        <p:nvSpPr>
          <p:cNvPr id="51" name="Rechteck 9">
            <a:extLst>
              <a:ext uri="{FF2B5EF4-FFF2-40B4-BE49-F238E27FC236}">
                <a16:creationId xmlns:a16="http://schemas.microsoft.com/office/drawing/2014/main" id="{31736919-C751-4273-827D-960577EA1F7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noFill/>
          <a:ln w="6350">
            <a:solidFill>
              <a:srgbClr val="DCDCD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n w="6350">
                <a:solidFill>
                  <a:schemeClr val="tx1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1850825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1" r:id="rId28"/>
    <p:sldLayoutId id="2147483692" r:id="rId29"/>
    <p:sldLayoutId id="2147483850" r:id="rId30"/>
    <p:sldLayoutId id="2147483851" r:id="rId31"/>
    <p:sldLayoutId id="2147483852" r:id="rId32"/>
    <p:sldLayoutId id="2147483858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  <p15:guide id="32" pos="234" userDrawn="1">
          <p15:clr>
            <a:srgbClr val="F26B43"/>
          </p15:clr>
        </p15:guide>
        <p15:guide id="33" pos="7446" userDrawn="1">
          <p15:clr>
            <a:srgbClr val="F26B43"/>
          </p15:clr>
        </p15:guide>
        <p15:guide id="34" orient="horz" pos="935" userDrawn="1">
          <p15:clr>
            <a:srgbClr val="F26B43"/>
          </p15:clr>
        </p15:guide>
        <p15:guide id="35" orient="horz" pos="3997" userDrawn="1">
          <p15:clr>
            <a:srgbClr val="F26B43"/>
          </p15:clr>
        </p15:guide>
        <p15:guide id="36" pos="3976" userDrawn="1">
          <p15:clr>
            <a:srgbClr val="F26B43"/>
          </p15:clr>
        </p15:guide>
        <p15:guide id="37" pos="37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CC9E5747-7893-47B3-890F-71FF019FF252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Gas positions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E6732B1C-C1BC-4B90-8EC1-F4F2A5FB3F4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6">
            <a:extLst>
              <a:ext uri="{FF2B5EF4-FFF2-40B4-BE49-F238E27FC236}">
                <a16:creationId xmlns:a16="http://schemas.microsoft.com/office/drawing/2014/main" id="{624F4BC0-A11B-44E1-9607-90FC8940314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8769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  <p:sldLayoutId id="2147483861" r:id="rId30"/>
    <p:sldLayoutId id="2147483862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6095D176-CC8E-4C9A-9DCC-C04C07944AEC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Gas positions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95F228BC-9A41-463D-A2F8-D207142622B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6">
            <a:extLst>
              <a:ext uri="{FF2B5EF4-FFF2-40B4-BE49-F238E27FC236}">
                <a16:creationId xmlns:a16="http://schemas.microsoft.com/office/drawing/2014/main" id="{4CBADD73-442D-401E-8359-40CE07D446F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415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  <p:sldLayoutId id="2147483742" r:id="rId13"/>
    <p:sldLayoutId id="2147483743" r:id="rId14"/>
    <p:sldLayoutId id="2147483744" r:id="rId15"/>
    <p:sldLayoutId id="2147483745" r:id="rId16"/>
    <p:sldLayoutId id="2147483746" r:id="rId17"/>
    <p:sldLayoutId id="2147483747" r:id="rId18"/>
    <p:sldLayoutId id="2147483748" r:id="rId19"/>
    <p:sldLayoutId id="2147483749" r:id="rId20"/>
    <p:sldLayoutId id="2147483750" r:id="rId21"/>
    <p:sldLayoutId id="2147483751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757" r:id="rId28"/>
    <p:sldLayoutId id="214748375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C2CBE0DB-594E-4FC3-BB87-B109A7214EAE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Gas positions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3839C84B-5F41-4BA8-8440-CC55EBF8E41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6">
            <a:extLst>
              <a:ext uri="{FF2B5EF4-FFF2-40B4-BE49-F238E27FC236}">
                <a16:creationId xmlns:a16="http://schemas.microsoft.com/office/drawing/2014/main" id="{618B3B3D-5474-4A45-AA71-C555752272F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1033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853" r:id="rId30"/>
    <p:sldLayoutId id="2147483854" r:id="rId31"/>
    <p:sldLayoutId id="2147483855" r:id="rId32"/>
    <p:sldLayoutId id="2147483856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5DDAC5A9-74FE-46D2-A7DA-706C7064F7CB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Gas positions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C5FB5EDE-2A6A-4AA4-BC32-FF7B176E746C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9A2DAB50-6978-47DE-B277-993975606C66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6">
            <a:extLst>
              <a:ext uri="{FF2B5EF4-FFF2-40B4-BE49-F238E27FC236}">
                <a16:creationId xmlns:a16="http://schemas.microsoft.com/office/drawing/2014/main" id="{2D8F8298-7DD4-4879-BDAE-6A6F5AF1AFAB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3239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801" r:id="rId12"/>
    <p:sldLayoutId id="2147483802" r:id="rId13"/>
    <p:sldLayoutId id="2147483803" r:id="rId14"/>
    <p:sldLayoutId id="2147483804" r:id="rId15"/>
    <p:sldLayoutId id="2147483805" r:id="rId16"/>
    <p:sldLayoutId id="2147483806" r:id="rId17"/>
    <p:sldLayoutId id="2147483807" r:id="rId18"/>
    <p:sldLayoutId id="2147483808" r:id="rId19"/>
    <p:sldLayoutId id="2147483809" r:id="rId20"/>
    <p:sldLayoutId id="2147483810" r:id="rId21"/>
    <p:sldLayoutId id="2147483811" r:id="rId22"/>
    <p:sldLayoutId id="2147483812" r:id="rId23"/>
    <p:sldLayoutId id="2147483813" r:id="rId24"/>
    <p:sldLayoutId id="2147483814" r:id="rId25"/>
    <p:sldLayoutId id="2147483815" r:id="rId26"/>
    <p:sldLayoutId id="2147483816" r:id="rId27"/>
    <p:sldLayoutId id="2147483817" r:id="rId28"/>
    <p:sldLayoutId id="214748381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CC22B28-D1A3-4258-BEBE-87C642AD23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138" y="368300"/>
            <a:ext cx="9213850" cy="2538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0"/>
            <a:r>
              <a:rPr lang="de-DE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7A7899-1176-4714-BFC5-99E4DB99A75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8138" y="1592263"/>
            <a:ext cx="6910386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rste Ebene für Fließtext (</a:t>
            </a:r>
            <a:r>
              <a:rPr lang="de-DE" err="1"/>
              <a:t>Inter</a:t>
            </a:r>
            <a:r>
              <a:rPr lang="de-DE"/>
              <a:t>, 12 </a:t>
            </a:r>
            <a:r>
              <a:rPr lang="de-DE" err="1"/>
              <a:t>pt</a:t>
            </a:r>
            <a:r>
              <a:rPr lang="de-DE"/>
              <a:t>, schwarz)</a:t>
            </a:r>
          </a:p>
          <a:p>
            <a:pPr lvl="1"/>
            <a:r>
              <a:rPr lang="de-DE"/>
              <a:t>Zweite Ebene für Fettungen/Hervorhebungen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2pt, schwarz)</a:t>
            </a:r>
          </a:p>
          <a:p>
            <a:pPr lvl="2"/>
            <a:r>
              <a:rPr lang="de-DE"/>
              <a:t>Dritte Ebene für Bullet Points</a:t>
            </a:r>
          </a:p>
          <a:p>
            <a:pPr lvl="3"/>
            <a:r>
              <a:rPr lang="de-DE"/>
              <a:t>Vierte Ebene für Aufzählungen</a:t>
            </a:r>
          </a:p>
          <a:p>
            <a:pPr lvl="4"/>
            <a:r>
              <a:rPr lang="de-DE"/>
              <a:t>Fünfte Ebene für Aufzählungen</a:t>
            </a:r>
          </a:p>
          <a:p>
            <a:pPr lvl="5"/>
            <a:r>
              <a:rPr lang="de-DE"/>
              <a:t>Sechs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schwarz)</a:t>
            </a:r>
          </a:p>
          <a:p>
            <a:pPr lvl="6"/>
            <a:r>
              <a:rPr lang="de-DE"/>
              <a:t>Siebte Ebene für Highlights (</a:t>
            </a:r>
            <a:r>
              <a:rPr lang="de-DE" err="1"/>
              <a:t>Inter</a:t>
            </a:r>
            <a:r>
              <a:rPr lang="de-DE"/>
              <a:t> </a:t>
            </a:r>
            <a:r>
              <a:rPr lang="de-DE" err="1"/>
              <a:t>Semi</a:t>
            </a:r>
            <a:r>
              <a:rPr lang="de-DE"/>
              <a:t> </a:t>
            </a:r>
            <a:r>
              <a:rPr lang="de-DE" err="1"/>
              <a:t>Bold</a:t>
            </a:r>
            <a:r>
              <a:rPr lang="de-DE"/>
              <a:t>, 16pt, </a:t>
            </a:r>
            <a:r>
              <a:rPr lang="de-DE" err="1"/>
              <a:t>Highlightfarbe</a:t>
            </a:r>
            <a:r>
              <a:rPr lang="de-DE"/>
              <a:t>)</a:t>
            </a:r>
          </a:p>
          <a:p>
            <a:pPr lvl="7"/>
            <a:r>
              <a:rPr lang="de-DE"/>
              <a:t>Achte Ebene für Diagramm und Bildlegenden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  <a:p>
            <a:pPr lvl="8"/>
            <a:r>
              <a:rPr lang="de-DE"/>
              <a:t>Neunte Ebene (</a:t>
            </a:r>
            <a:r>
              <a:rPr lang="de-DE" err="1"/>
              <a:t>Inter</a:t>
            </a:r>
            <a:r>
              <a:rPr lang="de-DE"/>
              <a:t>, 10pt, schwarz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E6ADEB-3EA6-4FEA-9F5A-2E6A8A33C6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160919" y="6491733"/>
            <a:ext cx="457993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algn="r"/>
            <a:fld id="{89800432-77E8-4A39-935E-CB4562EBD36C}" type="datetime1">
              <a:rPr lang="de-DE" smtClean="0"/>
              <a:t>2022-05-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251B0C-0232-4145-8300-5B5D4ADF2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401051" y="6491733"/>
            <a:ext cx="252253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Gas positions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4938F2-A076-4BF9-B690-BCB3E75B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25538" y="6491733"/>
            <a:ext cx="191824" cy="101671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Inter Semi Bold" panose="020B0702030000000004" pitchFamily="34" charset="0"/>
                <a:ea typeface="Inter Semi Bold" panose="020B0702030000000004" pitchFamily="34" charset="0"/>
              </a:defRPr>
            </a:lvl1pPr>
          </a:lstStyle>
          <a:p>
            <a:fld id="{EDB15C57-79C3-4FC8-BD27-90EA32E38989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017B64D-C976-4728-A95B-0361BA6A9F0D}"/>
              </a:ext>
            </a:extLst>
          </p:cNvPr>
          <p:cNvCxnSpPr/>
          <p:nvPr/>
        </p:nvCxnSpPr>
        <p:spPr>
          <a:xfrm>
            <a:off x="33496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9A3A56F-06AD-4760-9043-8DB8B80BE502}"/>
              </a:ext>
            </a:extLst>
          </p:cNvPr>
          <p:cNvCxnSpPr/>
          <p:nvPr/>
        </p:nvCxnSpPr>
        <p:spPr>
          <a:xfrm>
            <a:off x="14874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F10931-18F0-433A-AC5E-65EE1DB4129A}"/>
              </a:ext>
            </a:extLst>
          </p:cNvPr>
          <p:cNvCxnSpPr/>
          <p:nvPr/>
        </p:nvCxnSpPr>
        <p:spPr>
          <a:xfrm>
            <a:off x="263842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C514A1D-F749-449A-A2E6-22DCD7BF17C4}"/>
              </a:ext>
            </a:extLst>
          </p:cNvPr>
          <p:cNvCxnSpPr/>
          <p:nvPr/>
        </p:nvCxnSpPr>
        <p:spPr>
          <a:xfrm>
            <a:off x="37925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E5009D7-6B73-43BE-99D0-59635A89BC75}"/>
              </a:ext>
            </a:extLst>
          </p:cNvPr>
          <p:cNvCxnSpPr/>
          <p:nvPr/>
        </p:nvCxnSpPr>
        <p:spPr>
          <a:xfrm>
            <a:off x="45831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7D8A626-A7C6-4148-AA2E-CE5DD1A85F2B}"/>
              </a:ext>
            </a:extLst>
          </p:cNvPr>
          <p:cNvCxnSpPr/>
          <p:nvPr/>
        </p:nvCxnSpPr>
        <p:spPr>
          <a:xfrm>
            <a:off x="494347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00E5437-43C6-4C8E-A7C8-B440ED623067}"/>
              </a:ext>
            </a:extLst>
          </p:cNvPr>
          <p:cNvCxnSpPr/>
          <p:nvPr/>
        </p:nvCxnSpPr>
        <p:spPr>
          <a:xfrm>
            <a:off x="6096000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B502A48-F5B6-433B-9D20-478BFF854AB9}"/>
              </a:ext>
            </a:extLst>
          </p:cNvPr>
          <p:cNvCxnSpPr/>
          <p:nvPr/>
        </p:nvCxnSpPr>
        <p:spPr>
          <a:xfrm>
            <a:off x="7248525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C098924-8A9C-4D31-86C0-B4768D507032}"/>
              </a:ext>
            </a:extLst>
          </p:cNvPr>
          <p:cNvCxnSpPr/>
          <p:nvPr/>
        </p:nvCxnSpPr>
        <p:spPr>
          <a:xfrm>
            <a:off x="76088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B82E598-70AE-4F7F-814E-06127B5A3D6E}"/>
              </a:ext>
            </a:extLst>
          </p:cNvPr>
          <p:cNvCxnSpPr/>
          <p:nvPr/>
        </p:nvCxnSpPr>
        <p:spPr>
          <a:xfrm>
            <a:off x="1489076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4AB93B-662F-41BF-836C-D2D64FCC0FDA}"/>
              </a:ext>
            </a:extLst>
          </p:cNvPr>
          <p:cNvCxnSpPr/>
          <p:nvPr/>
        </p:nvCxnSpPr>
        <p:spPr>
          <a:xfrm>
            <a:off x="84026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545D25C-D5C2-4FDF-A623-E9EDF6886996}"/>
              </a:ext>
            </a:extLst>
          </p:cNvPr>
          <p:cNvCxnSpPr/>
          <p:nvPr/>
        </p:nvCxnSpPr>
        <p:spPr>
          <a:xfrm>
            <a:off x="955198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61AAA06-59B2-402E-90E3-0C2B22F1700C}"/>
              </a:ext>
            </a:extLst>
          </p:cNvPr>
          <p:cNvCxnSpPr/>
          <p:nvPr/>
        </p:nvCxnSpPr>
        <p:spPr>
          <a:xfrm>
            <a:off x="10704513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D3566-C2E5-4256-B222-9F948B0D6F15}"/>
              </a:ext>
            </a:extLst>
          </p:cNvPr>
          <p:cNvCxnSpPr/>
          <p:nvPr/>
        </p:nvCxnSpPr>
        <p:spPr>
          <a:xfrm>
            <a:off x="11857038" y="-22439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CC1A2F1-C1D4-4509-9549-141C62748335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345892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F6EF8D5B-0767-456B-A9DA-545E5C27D79A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734704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D892EA7-B98B-421F-B84B-657C787F045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1511781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4D88CDC6-5388-456A-9720-DC3DB88D03E9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860416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495E1BE4-7ABB-4D45-BC0E-60FB6EB13A8F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2841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C222D0B4-9309-49E0-94E2-FE83EFF03CB8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3958667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E903F861-086A-4C9C-88A0-544DD5D2EC8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518262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9E85238A-46BC-4F2E-A0A0-F81B78C37DF4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4055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2667818E-6A1E-4A4C-AFD4-C135288874B4}"/>
              </a:ext>
            </a:extLst>
          </p:cNvPr>
          <p:cNvGrpSpPr/>
          <p:nvPr/>
        </p:nvGrpSpPr>
        <p:grpSpPr>
          <a:xfrm>
            <a:off x="10990764" y="364362"/>
            <a:ext cx="867864" cy="231551"/>
            <a:chOff x="464743" y="1368699"/>
            <a:chExt cx="2380059" cy="635012"/>
          </a:xfrm>
        </p:grpSpPr>
        <p:sp>
          <p:nvSpPr>
            <p:cNvPr id="55" name="Oval 5">
              <a:extLst>
                <a:ext uri="{FF2B5EF4-FFF2-40B4-BE49-F238E27FC236}">
                  <a16:creationId xmlns:a16="http://schemas.microsoft.com/office/drawing/2014/main" id="{C189E95A-38EA-45B6-9D02-6E1D97071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743" y="1438774"/>
              <a:ext cx="564318" cy="564937"/>
            </a:xfrm>
            <a:prstGeom prst="ellipse">
              <a:avLst/>
            </a:prstGeom>
            <a:solidFill>
              <a:srgbClr val="FCB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D2EEF067-6E8B-4787-9FDF-44E23FF2BA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22" y="1368699"/>
              <a:ext cx="564318" cy="564937"/>
            </a:xfrm>
            <a:custGeom>
              <a:avLst/>
              <a:gdLst>
                <a:gd name="T0" fmla="*/ 444 w 887"/>
                <a:gd name="T1" fmla="*/ 886 h 886"/>
                <a:gd name="T2" fmla="*/ 887 w 887"/>
                <a:gd name="T3" fmla="*/ 443 h 886"/>
                <a:gd name="T4" fmla="*/ 444 w 887"/>
                <a:gd name="T5" fmla="*/ 0 h 886"/>
                <a:gd name="T6" fmla="*/ 0 w 887"/>
                <a:gd name="T7" fmla="*/ 443 h 886"/>
                <a:gd name="T8" fmla="*/ 444 w 887"/>
                <a:gd name="T9" fmla="*/ 886 h 886"/>
                <a:gd name="T10" fmla="*/ 444 w 887"/>
                <a:gd name="T11" fmla="*/ 797 h 886"/>
                <a:gd name="T12" fmla="*/ 799 w 887"/>
                <a:gd name="T13" fmla="*/ 443 h 886"/>
                <a:gd name="T14" fmla="*/ 444 w 887"/>
                <a:gd name="T15" fmla="*/ 88 h 886"/>
                <a:gd name="T16" fmla="*/ 89 w 887"/>
                <a:gd name="T17" fmla="*/ 443 h 886"/>
                <a:gd name="T18" fmla="*/ 444 w 887"/>
                <a:gd name="T19" fmla="*/ 797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7" h="886">
                  <a:moveTo>
                    <a:pt x="444" y="886"/>
                  </a:moveTo>
                  <a:cubicBezTo>
                    <a:pt x="689" y="886"/>
                    <a:pt x="887" y="687"/>
                    <a:pt x="887" y="443"/>
                  </a:cubicBezTo>
                  <a:cubicBezTo>
                    <a:pt x="887" y="198"/>
                    <a:pt x="689" y="0"/>
                    <a:pt x="444" y="0"/>
                  </a:cubicBezTo>
                  <a:cubicBezTo>
                    <a:pt x="198" y="0"/>
                    <a:pt x="0" y="198"/>
                    <a:pt x="0" y="443"/>
                  </a:cubicBezTo>
                  <a:cubicBezTo>
                    <a:pt x="0" y="687"/>
                    <a:pt x="198" y="886"/>
                    <a:pt x="444" y="886"/>
                  </a:cubicBezTo>
                  <a:close/>
                  <a:moveTo>
                    <a:pt x="444" y="797"/>
                  </a:moveTo>
                  <a:cubicBezTo>
                    <a:pt x="640" y="797"/>
                    <a:pt x="799" y="638"/>
                    <a:pt x="799" y="443"/>
                  </a:cubicBezTo>
                  <a:cubicBezTo>
                    <a:pt x="799" y="247"/>
                    <a:pt x="640" y="88"/>
                    <a:pt x="444" y="88"/>
                  </a:cubicBezTo>
                  <a:cubicBezTo>
                    <a:pt x="248" y="88"/>
                    <a:pt x="89" y="247"/>
                    <a:pt x="89" y="443"/>
                  </a:cubicBezTo>
                  <a:cubicBezTo>
                    <a:pt x="89" y="638"/>
                    <a:pt x="248" y="797"/>
                    <a:pt x="444" y="79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/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766481E-25DF-4E9E-8BB7-4E620E81A44B}"/>
                </a:ext>
              </a:extLst>
            </p:cNvPr>
            <p:cNvGrpSpPr/>
            <p:nvPr/>
          </p:nvGrpSpPr>
          <p:grpSpPr>
            <a:xfrm>
              <a:off x="1311220" y="1530566"/>
              <a:ext cx="1533582" cy="307587"/>
              <a:chOff x="3987943" y="2307132"/>
              <a:chExt cx="2607166" cy="522910"/>
            </a:xfrm>
          </p:grpSpPr>
          <p:sp>
            <p:nvSpPr>
              <p:cNvPr id="58" name="Freeform 7">
                <a:extLst>
                  <a:ext uri="{FF2B5EF4-FFF2-40B4-BE49-F238E27FC236}">
                    <a16:creationId xmlns:a16="http://schemas.microsoft.com/office/drawing/2014/main" id="{4D630AF5-8630-4F31-9C90-CB14509D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943" y="2334543"/>
                <a:ext cx="275687" cy="483375"/>
              </a:xfrm>
              <a:custGeom>
                <a:avLst/>
                <a:gdLst>
                  <a:gd name="T0" fmla="*/ 255 w 255"/>
                  <a:gd name="T1" fmla="*/ 372 h 446"/>
                  <a:gd name="T2" fmla="*/ 242 w 255"/>
                  <a:gd name="T3" fmla="*/ 365 h 446"/>
                  <a:gd name="T4" fmla="*/ 89 w 255"/>
                  <a:gd name="T5" fmla="*/ 365 h 446"/>
                  <a:gd name="T6" fmla="*/ 89 w 255"/>
                  <a:gd name="T7" fmla="*/ 14 h 446"/>
                  <a:gd name="T8" fmla="*/ 75 w 255"/>
                  <a:gd name="T9" fmla="*/ 0 h 446"/>
                  <a:gd name="T10" fmla="*/ 14 w 255"/>
                  <a:gd name="T11" fmla="*/ 0 h 446"/>
                  <a:gd name="T12" fmla="*/ 0 w 255"/>
                  <a:gd name="T13" fmla="*/ 14 h 446"/>
                  <a:gd name="T14" fmla="*/ 0 w 255"/>
                  <a:gd name="T15" fmla="*/ 432 h 446"/>
                  <a:gd name="T16" fmla="*/ 14 w 255"/>
                  <a:gd name="T17" fmla="*/ 446 h 446"/>
                  <a:gd name="T18" fmla="*/ 227 w 255"/>
                  <a:gd name="T19" fmla="*/ 446 h 446"/>
                  <a:gd name="T20" fmla="*/ 242 w 255"/>
                  <a:gd name="T21" fmla="*/ 434 h 446"/>
                  <a:gd name="T22" fmla="*/ 254 w 255"/>
                  <a:gd name="T23" fmla="*/ 380 h 446"/>
                  <a:gd name="T24" fmla="*/ 255 w 255"/>
                  <a:gd name="T25" fmla="*/ 37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5" h="446">
                    <a:moveTo>
                      <a:pt x="255" y="372"/>
                    </a:moveTo>
                    <a:cubicBezTo>
                      <a:pt x="255" y="367"/>
                      <a:pt x="251" y="365"/>
                      <a:pt x="242" y="365"/>
                    </a:cubicBezTo>
                    <a:cubicBezTo>
                      <a:pt x="89" y="365"/>
                      <a:pt x="89" y="365"/>
                      <a:pt x="89" y="365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9" y="2"/>
                      <a:pt x="87" y="0"/>
                      <a:pt x="7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1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227" y="446"/>
                      <a:pt x="227" y="446"/>
                      <a:pt x="227" y="446"/>
                    </a:cubicBezTo>
                    <a:cubicBezTo>
                      <a:pt x="238" y="446"/>
                      <a:pt x="240" y="444"/>
                      <a:pt x="242" y="434"/>
                    </a:cubicBezTo>
                    <a:cubicBezTo>
                      <a:pt x="254" y="380"/>
                      <a:pt x="254" y="380"/>
                      <a:pt x="254" y="380"/>
                    </a:cubicBezTo>
                    <a:cubicBezTo>
                      <a:pt x="255" y="374"/>
                      <a:pt x="255" y="374"/>
                      <a:pt x="255" y="37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59" name="Freeform 8">
                <a:extLst>
                  <a:ext uri="{FF2B5EF4-FFF2-40B4-BE49-F238E27FC236}">
                    <a16:creationId xmlns:a16="http://schemas.microsoft.com/office/drawing/2014/main" id="{D7054DC7-CBA2-4C25-9F87-1FD140BC8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8855" y="2309768"/>
                <a:ext cx="163409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6 w 151"/>
                  <a:gd name="T29" fmla="*/ 52 h 469"/>
                  <a:gd name="T30" fmla="*/ 98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0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0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7" y="0"/>
                      <a:pt x="99" y="0"/>
                    </a:cubicBezTo>
                    <a:cubicBezTo>
                      <a:pt x="70" y="0"/>
                      <a:pt x="46" y="23"/>
                      <a:pt x="46" y="52"/>
                    </a:cubicBezTo>
                    <a:cubicBezTo>
                      <a:pt x="46" y="81"/>
                      <a:pt x="69" y="105"/>
                      <a:pt x="98" y="105"/>
                    </a:cubicBezTo>
                    <a:cubicBezTo>
                      <a:pt x="127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0" name="Freeform 9">
                <a:extLst>
                  <a:ext uri="{FF2B5EF4-FFF2-40B4-BE49-F238E27FC236}">
                    <a16:creationId xmlns:a16="http://schemas.microsoft.com/office/drawing/2014/main" id="{4A833CE3-BEE9-415B-AC22-C39DBFA7A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9163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1" name="Freeform 10">
                <a:extLst>
                  <a:ext uri="{FF2B5EF4-FFF2-40B4-BE49-F238E27FC236}">
                    <a16:creationId xmlns:a16="http://schemas.microsoft.com/office/drawing/2014/main" id="{EE226485-6678-4B19-8051-5EC8249F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300" y="2307132"/>
                <a:ext cx="275687" cy="510786"/>
              </a:xfrm>
              <a:custGeom>
                <a:avLst/>
                <a:gdLst>
                  <a:gd name="T0" fmla="*/ 82 w 255"/>
                  <a:gd name="T1" fmla="*/ 460 h 471"/>
                  <a:gd name="T2" fmla="*/ 82 w 255"/>
                  <a:gd name="T3" fmla="*/ 232 h 471"/>
                  <a:gd name="T4" fmla="*/ 138 w 255"/>
                  <a:gd name="T5" fmla="*/ 205 h 471"/>
                  <a:gd name="T6" fmla="*/ 173 w 255"/>
                  <a:gd name="T7" fmla="*/ 260 h 471"/>
                  <a:gd name="T8" fmla="*/ 173 w 255"/>
                  <a:gd name="T9" fmla="*/ 460 h 471"/>
                  <a:gd name="T10" fmla="*/ 184 w 255"/>
                  <a:gd name="T11" fmla="*/ 471 h 471"/>
                  <a:gd name="T12" fmla="*/ 244 w 255"/>
                  <a:gd name="T13" fmla="*/ 471 h 471"/>
                  <a:gd name="T14" fmla="*/ 255 w 255"/>
                  <a:gd name="T15" fmla="*/ 460 h 471"/>
                  <a:gd name="T16" fmla="*/ 255 w 255"/>
                  <a:gd name="T17" fmla="*/ 241 h 471"/>
                  <a:gd name="T18" fmla="*/ 242 w 255"/>
                  <a:gd name="T19" fmla="*/ 174 h 471"/>
                  <a:gd name="T20" fmla="*/ 171 w 255"/>
                  <a:gd name="T21" fmla="*/ 139 h 471"/>
                  <a:gd name="T22" fmla="*/ 82 w 255"/>
                  <a:gd name="T23" fmla="*/ 176 h 471"/>
                  <a:gd name="T24" fmla="*/ 82 w 255"/>
                  <a:gd name="T25" fmla="*/ 11 h 471"/>
                  <a:gd name="T26" fmla="*/ 76 w 255"/>
                  <a:gd name="T27" fmla="*/ 0 h 471"/>
                  <a:gd name="T28" fmla="*/ 70 w 255"/>
                  <a:gd name="T29" fmla="*/ 1 h 471"/>
                  <a:gd name="T30" fmla="*/ 10 w 255"/>
                  <a:gd name="T31" fmla="*/ 13 h 471"/>
                  <a:gd name="T32" fmla="*/ 0 w 255"/>
                  <a:gd name="T33" fmla="*/ 25 h 471"/>
                  <a:gd name="T34" fmla="*/ 0 w 255"/>
                  <a:gd name="T35" fmla="*/ 460 h 471"/>
                  <a:gd name="T36" fmla="*/ 11 w 255"/>
                  <a:gd name="T37" fmla="*/ 471 h 471"/>
                  <a:gd name="T38" fmla="*/ 71 w 255"/>
                  <a:gd name="T39" fmla="*/ 471 h 471"/>
                  <a:gd name="T40" fmla="*/ 82 w 255"/>
                  <a:gd name="T41" fmla="*/ 46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5" h="471">
                    <a:moveTo>
                      <a:pt x="82" y="460"/>
                    </a:moveTo>
                    <a:cubicBezTo>
                      <a:pt x="82" y="232"/>
                      <a:pt x="82" y="232"/>
                      <a:pt x="82" y="232"/>
                    </a:cubicBezTo>
                    <a:cubicBezTo>
                      <a:pt x="104" y="212"/>
                      <a:pt x="119" y="205"/>
                      <a:pt x="138" y="205"/>
                    </a:cubicBezTo>
                    <a:cubicBezTo>
                      <a:pt x="164" y="205"/>
                      <a:pt x="173" y="220"/>
                      <a:pt x="173" y="260"/>
                    </a:cubicBezTo>
                    <a:cubicBezTo>
                      <a:pt x="173" y="460"/>
                      <a:pt x="173" y="460"/>
                      <a:pt x="173" y="460"/>
                    </a:cubicBezTo>
                    <a:cubicBezTo>
                      <a:pt x="173" y="469"/>
                      <a:pt x="175" y="471"/>
                      <a:pt x="184" y="471"/>
                    </a:cubicBezTo>
                    <a:cubicBezTo>
                      <a:pt x="244" y="471"/>
                      <a:pt x="244" y="471"/>
                      <a:pt x="244" y="471"/>
                    </a:cubicBezTo>
                    <a:cubicBezTo>
                      <a:pt x="254" y="471"/>
                      <a:pt x="255" y="469"/>
                      <a:pt x="255" y="460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55" y="208"/>
                      <a:pt x="252" y="190"/>
                      <a:pt x="242" y="174"/>
                    </a:cubicBezTo>
                    <a:cubicBezTo>
                      <a:pt x="229" y="152"/>
                      <a:pt x="202" y="139"/>
                      <a:pt x="171" y="139"/>
                    </a:cubicBezTo>
                    <a:cubicBezTo>
                      <a:pt x="137" y="139"/>
                      <a:pt x="109" y="151"/>
                      <a:pt x="82" y="176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5" y="0"/>
                      <a:pt x="72" y="0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6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2" name="Freeform 11">
                <a:extLst>
                  <a:ext uri="{FF2B5EF4-FFF2-40B4-BE49-F238E27FC236}">
                    <a16:creationId xmlns:a16="http://schemas.microsoft.com/office/drawing/2014/main" id="{3BD573E8-29EC-4613-8FCC-EA264FFB7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033" y="2359318"/>
                <a:ext cx="246695" cy="470724"/>
              </a:xfrm>
              <a:custGeom>
                <a:avLst/>
                <a:gdLst>
                  <a:gd name="T0" fmla="*/ 228 w 228"/>
                  <a:gd name="T1" fmla="*/ 408 h 434"/>
                  <a:gd name="T2" fmla="*/ 226 w 228"/>
                  <a:gd name="T3" fmla="*/ 401 h 434"/>
                  <a:gd name="T4" fmla="*/ 216 w 228"/>
                  <a:gd name="T5" fmla="*/ 356 h 434"/>
                  <a:gd name="T6" fmla="*/ 210 w 228"/>
                  <a:gd name="T7" fmla="*/ 349 h 434"/>
                  <a:gd name="T8" fmla="*/ 204 w 228"/>
                  <a:gd name="T9" fmla="*/ 351 h 434"/>
                  <a:gd name="T10" fmla="*/ 161 w 228"/>
                  <a:gd name="T11" fmla="*/ 362 h 434"/>
                  <a:gd name="T12" fmla="*/ 137 w 228"/>
                  <a:gd name="T13" fmla="*/ 320 h 434"/>
                  <a:gd name="T14" fmla="*/ 137 w 228"/>
                  <a:gd name="T15" fmla="*/ 162 h 434"/>
                  <a:gd name="T16" fmla="*/ 201 w 228"/>
                  <a:gd name="T17" fmla="*/ 162 h 434"/>
                  <a:gd name="T18" fmla="*/ 213 w 228"/>
                  <a:gd name="T19" fmla="*/ 152 h 434"/>
                  <a:gd name="T20" fmla="*/ 221 w 228"/>
                  <a:gd name="T21" fmla="*/ 114 h 434"/>
                  <a:gd name="T22" fmla="*/ 222 w 228"/>
                  <a:gd name="T23" fmla="*/ 108 h 434"/>
                  <a:gd name="T24" fmla="*/ 211 w 228"/>
                  <a:gd name="T25" fmla="*/ 102 h 434"/>
                  <a:gd name="T26" fmla="*/ 137 w 228"/>
                  <a:gd name="T27" fmla="*/ 102 h 434"/>
                  <a:gd name="T28" fmla="*/ 137 w 228"/>
                  <a:gd name="T29" fmla="*/ 10 h 434"/>
                  <a:gd name="T30" fmla="*/ 131 w 228"/>
                  <a:gd name="T31" fmla="*/ 0 h 434"/>
                  <a:gd name="T32" fmla="*/ 125 w 228"/>
                  <a:gd name="T33" fmla="*/ 0 h 434"/>
                  <a:gd name="T34" fmla="*/ 66 w 228"/>
                  <a:gd name="T35" fmla="*/ 8 h 434"/>
                  <a:gd name="T36" fmla="*/ 55 w 228"/>
                  <a:gd name="T37" fmla="*/ 20 h 434"/>
                  <a:gd name="T38" fmla="*/ 55 w 228"/>
                  <a:gd name="T39" fmla="*/ 102 h 434"/>
                  <a:gd name="T40" fmla="*/ 11 w 228"/>
                  <a:gd name="T41" fmla="*/ 102 h 434"/>
                  <a:gd name="T42" fmla="*/ 0 w 228"/>
                  <a:gd name="T43" fmla="*/ 113 h 434"/>
                  <a:gd name="T44" fmla="*/ 0 w 228"/>
                  <a:gd name="T45" fmla="*/ 151 h 434"/>
                  <a:gd name="T46" fmla="*/ 11 w 228"/>
                  <a:gd name="T47" fmla="*/ 162 h 434"/>
                  <a:gd name="T48" fmla="*/ 55 w 228"/>
                  <a:gd name="T49" fmla="*/ 162 h 434"/>
                  <a:gd name="T50" fmla="*/ 55 w 228"/>
                  <a:gd name="T51" fmla="*/ 332 h 434"/>
                  <a:gd name="T52" fmla="*/ 69 w 228"/>
                  <a:gd name="T53" fmla="*/ 401 h 434"/>
                  <a:gd name="T54" fmla="*/ 142 w 228"/>
                  <a:gd name="T55" fmla="*/ 434 h 434"/>
                  <a:gd name="T56" fmla="*/ 208 w 228"/>
                  <a:gd name="T57" fmla="*/ 423 h 434"/>
                  <a:gd name="T58" fmla="*/ 228 w 228"/>
                  <a:gd name="T59" fmla="*/ 40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8" h="434">
                    <a:moveTo>
                      <a:pt x="228" y="408"/>
                    </a:moveTo>
                    <a:cubicBezTo>
                      <a:pt x="228" y="407"/>
                      <a:pt x="228" y="406"/>
                      <a:pt x="226" y="401"/>
                    </a:cubicBezTo>
                    <a:cubicBezTo>
                      <a:pt x="216" y="356"/>
                      <a:pt x="216" y="356"/>
                      <a:pt x="216" y="356"/>
                    </a:cubicBezTo>
                    <a:cubicBezTo>
                      <a:pt x="215" y="352"/>
                      <a:pt x="213" y="349"/>
                      <a:pt x="210" y="349"/>
                    </a:cubicBezTo>
                    <a:cubicBezTo>
                      <a:pt x="208" y="349"/>
                      <a:pt x="206" y="350"/>
                      <a:pt x="204" y="351"/>
                    </a:cubicBezTo>
                    <a:cubicBezTo>
                      <a:pt x="180" y="360"/>
                      <a:pt x="174" y="362"/>
                      <a:pt x="161" y="362"/>
                    </a:cubicBezTo>
                    <a:cubicBezTo>
                      <a:pt x="142" y="362"/>
                      <a:pt x="137" y="355"/>
                      <a:pt x="137" y="320"/>
                    </a:cubicBezTo>
                    <a:cubicBezTo>
                      <a:pt x="137" y="162"/>
                      <a:pt x="137" y="162"/>
                      <a:pt x="137" y="162"/>
                    </a:cubicBezTo>
                    <a:cubicBezTo>
                      <a:pt x="201" y="162"/>
                      <a:pt x="201" y="162"/>
                      <a:pt x="201" y="162"/>
                    </a:cubicBezTo>
                    <a:cubicBezTo>
                      <a:pt x="209" y="162"/>
                      <a:pt x="211" y="160"/>
                      <a:pt x="213" y="152"/>
                    </a:cubicBezTo>
                    <a:cubicBezTo>
                      <a:pt x="221" y="114"/>
                      <a:pt x="221" y="114"/>
                      <a:pt x="221" y="114"/>
                    </a:cubicBezTo>
                    <a:cubicBezTo>
                      <a:pt x="222" y="112"/>
                      <a:pt x="222" y="110"/>
                      <a:pt x="222" y="108"/>
                    </a:cubicBezTo>
                    <a:cubicBezTo>
                      <a:pt x="222" y="103"/>
                      <a:pt x="219" y="102"/>
                      <a:pt x="211" y="102"/>
                    </a:cubicBezTo>
                    <a:cubicBezTo>
                      <a:pt x="137" y="102"/>
                      <a:pt x="137" y="102"/>
                      <a:pt x="137" y="102"/>
                    </a:cubicBezTo>
                    <a:cubicBezTo>
                      <a:pt x="137" y="10"/>
                      <a:pt x="137" y="10"/>
                      <a:pt x="137" y="10"/>
                    </a:cubicBezTo>
                    <a:cubicBezTo>
                      <a:pt x="137" y="2"/>
                      <a:pt x="135" y="0"/>
                      <a:pt x="131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57" y="9"/>
                      <a:pt x="55" y="11"/>
                      <a:pt x="55" y="20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" y="102"/>
                      <a:pt x="0" y="103"/>
                      <a:pt x="0" y="113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61"/>
                      <a:pt x="1" y="162"/>
                      <a:pt x="11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5" y="332"/>
                      <a:pt x="55" y="332"/>
                      <a:pt x="55" y="332"/>
                    </a:cubicBezTo>
                    <a:cubicBezTo>
                      <a:pt x="55" y="368"/>
                      <a:pt x="59" y="384"/>
                      <a:pt x="69" y="401"/>
                    </a:cubicBezTo>
                    <a:cubicBezTo>
                      <a:pt x="84" y="423"/>
                      <a:pt x="109" y="434"/>
                      <a:pt x="142" y="434"/>
                    </a:cubicBezTo>
                    <a:cubicBezTo>
                      <a:pt x="164" y="434"/>
                      <a:pt x="186" y="430"/>
                      <a:pt x="208" y="423"/>
                    </a:cubicBezTo>
                    <a:cubicBezTo>
                      <a:pt x="224" y="418"/>
                      <a:pt x="228" y="415"/>
                      <a:pt x="228" y="4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3" name="Freeform 12">
                <a:extLst>
                  <a:ext uri="{FF2B5EF4-FFF2-40B4-BE49-F238E27FC236}">
                    <a16:creationId xmlns:a16="http://schemas.microsoft.com/office/drawing/2014/main" id="{1045D026-AE12-444C-A892-8710BC1CC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8937" y="2334543"/>
                <a:ext cx="307315" cy="483375"/>
              </a:xfrm>
              <a:custGeom>
                <a:avLst/>
                <a:gdLst>
                  <a:gd name="T0" fmla="*/ 195 w 284"/>
                  <a:gd name="T1" fmla="*/ 315 h 446"/>
                  <a:gd name="T2" fmla="*/ 115 w 284"/>
                  <a:gd name="T3" fmla="*/ 375 h 446"/>
                  <a:gd name="T4" fmla="*/ 84 w 284"/>
                  <a:gd name="T5" fmla="*/ 375 h 446"/>
                  <a:gd name="T6" fmla="*/ 84 w 284"/>
                  <a:gd name="T7" fmla="*/ 252 h 446"/>
                  <a:gd name="T8" fmla="*/ 116 w 284"/>
                  <a:gd name="T9" fmla="*/ 252 h 446"/>
                  <a:gd name="T10" fmla="*/ 195 w 284"/>
                  <a:gd name="T11" fmla="*/ 315 h 446"/>
                  <a:gd name="T12" fmla="*/ 182 w 284"/>
                  <a:gd name="T13" fmla="*/ 123 h 446"/>
                  <a:gd name="T14" fmla="*/ 162 w 284"/>
                  <a:gd name="T15" fmla="*/ 174 h 446"/>
                  <a:gd name="T16" fmla="*/ 111 w 284"/>
                  <a:gd name="T17" fmla="*/ 185 h 446"/>
                  <a:gd name="T18" fmla="*/ 84 w 284"/>
                  <a:gd name="T19" fmla="*/ 185 h 446"/>
                  <a:gd name="T20" fmla="*/ 84 w 284"/>
                  <a:gd name="T21" fmla="*/ 65 h 446"/>
                  <a:gd name="T22" fmla="*/ 118 w 284"/>
                  <a:gd name="T23" fmla="*/ 65 h 446"/>
                  <a:gd name="T24" fmla="*/ 157 w 284"/>
                  <a:gd name="T25" fmla="*/ 72 h 446"/>
                  <a:gd name="T26" fmla="*/ 182 w 284"/>
                  <a:gd name="T27" fmla="*/ 123 h 446"/>
                  <a:gd name="T28" fmla="*/ 284 w 284"/>
                  <a:gd name="T29" fmla="*/ 320 h 446"/>
                  <a:gd name="T30" fmla="*/ 203 w 284"/>
                  <a:gd name="T31" fmla="*/ 213 h 446"/>
                  <a:gd name="T32" fmla="*/ 268 w 284"/>
                  <a:gd name="T33" fmla="*/ 114 h 446"/>
                  <a:gd name="T34" fmla="*/ 223 w 284"/>
                  <a:gd name="T35" fmla="*/ 19 h 446"/>
                  <a:gd name="T36" fmla="*/ 118 w 284"/>
                  <a:gd name="T37" fmla="*/ 0 h 446"/>
                  <a:gd name="T38" fmla="*/ 14 w 284"/>
                  <a:gd name="T39" fmla="*/ 0 h 446"/>
                  <a:gd name="T40" fmla="*/ 0 w 284"/>
                  <a:gd name="T41" fmla="*/ 14 h 446"/>
                  <a:gd name="T42" fmla="*/ 0 w 284"/>
                  <a:gd name="T43" fmla="*/ 432 h 446"/>
                  <a:gd name="T44" fmla="*/ 14 w 284"/>
                  <a:gd name="T45" fmla="*/ 446 h 446"/>
                  <a:gd name="T46" fmla="*/ 124 w 284"/>
                  <a:gd name="T47" fmla="*/ 446 h 446"/>
                  <a:gd name="T48" fmla="*/ 222 w 284"/>
                  <a:gd name="T49" fmla="*/ 432 h 446"/>
                  <a:gd name="T50" fmla="*/ 284 w 284"/>
                  <a:gd name="T51" fmla="*/ 320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4" h="446">
                    <a:moveTo>
                      <a:pt x="195" y="315"/>
                    </a:moveTo>
                    <a:cubicBezTo>
                      <a:pt x="195" y="358"/>
                      <a:pt x="173" y="375"/>
                      <a:pt x="115" y="375"/>
                    </a:cubicBezTo>
                    <a:cubicBezTo>
                      <a:pt x="84" y="375"/>
                      <a:pt x="84" y="375"/>
                      <a:pt x="84" y="375"/>
                    </a:cubicBezTo>
                    <a:cubicBezTo>
                      <a:pt x="84" y="252"/>
                      <a:pt x="84" y="252"/>
                      <a:pt x="84" y="252"/>
                    </a:cubicBezTo>
                    <a:cubicBezTo>
                      <a:pt x="116" y="252"/>
                      <a:pt x="116" y="252"/>
                      <a:pt x="116" y="252"/>
                    </a:cubicBezTo>
                    <a:cubicBezTo>
                      <a:pt x="173" y="252"/>
                      <a:pt x="195" y="270"/>
                      <a:pt x="195" y="315"/>
                    </a:cubicBezTo>
                    <a:close/>
                    <a:moveTo>
                      <a:pt x="182" y="123"/>
                    </a:moveTo>
                    <a:cubicBezTo>
                      <a:pt x="182" y="146"/>
                      <a:pt x="175" y="164"/>
                      <a:pt x="162" y="174"/>
                    </a:cubicBezTo>
                    <a:cubicBezTo>
                      <a:pt x="150" y="183"/>
                      <a:pt x="138" y="185"/>
                      <a:pt x="111" y="185"/>
                    </a:cubicBezTo>
                    <a:cubicBezTo>
                      <a:pt x="84" y="185"/>
                      <a:pt x="84" y="185"/>
                      <a:pt x="84" y="185"/>
                    </a:cubicBezTo>
                    <a:cubicBezTo>
                      <a:pt x="84" y="65"/>
                      <a:pt x="84" y="65"/>
                      <a:pt x="84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38" y="65"/>
                      <a:pt x="148" y="67"/>
                      <a:pt x="157" y="72"/>
                    </a:cubicBezTo>
                    <a:cubicBezTo>
                      <a:pt x="173" y="82"/>
                      <a:pt x="182" y="100"/>
                      <a:pt x="182" y="123"/>
                    </a:cubicBezTo>
                    <a:close/>
                    <a:moveTo>
                      <a:pt x="284" y="320"/>
                    </a:moveTo>
                    <a:cubicBezTo>
                      <a:pt x="284" y="266"/>
                      <a:pt x="255" y="226"/>
                      <a:pt x="203" y="213"/>
                    </a:cubicBezTo>
                    <a:cubicBezTo>
                      <a:pt x="249" y="192"/>
                      <a:pt x="268" y="162"/>
                      <a:pt x="268" y="114"/>
                    </a:cubicBezTo>
                    <a:cubicBezTo>
                      <a:pt x="268" y="75"/>
                      <a:pt x="251" y="38"/>
                      <a:pt x="223" y="19"/>
                    </a:cubicBezTo>
                    <a:cubicBezTo>
                      <a:pt x="201" y="4"/>
                      <a:pt x="180" y="0"/>
                      <a:pt x="118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" y="0"/>
                      <a:pt x="0" y="2"/>
                      <a:pt x="0" y="1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0" y="444"/>
                      <a:pt x="2" y="446"/>
                      <a:pt x="14" y="446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77" y="446"/>
                      <a:pt x="201" y="443"/>
                      <a:pt x="222" y="432"/>
                    </a:cubicBezTo>
                    <a:cubicBezTo>
                      <a:pt x="259" y="414"/>
                      <a:pt x="284" y="368"/>
                      <a:pt x="284" y="3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969A310D-4C62-4F20-8DB3-23D3EB19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1584" y="2307132"/>
                <a:ext cx="156029" cy="522909"/>
              </a:xfrm>
              <a:custGeom>
                <a:avLst/>
                <a:gdLst>
                  <a:gd name="T0" fmla="*/ 144 w 144"/>
                  <a:gd name="T1" fmla="*/ 464 h 482"/>
                  <a:gd name="T2" fmla="*/ 144 w 144"/>
                  <a:gd name="T3" fmla="*/ 461 h 482"/>
                  <a:gd name="T4" fmla="*/ 143 w 144"/>
                  <a:gd name="T5" fmla="*/ 458 h 482"/>
                  <a:gd name="T6" fmla="*/ 130 w 144"/>
                  <a:gd name="T7" fmla="*/ 405 h 482"/>
                  <a:gd name="T8" fmla="*/ 125 w 144"/>
                  <a:gd name="T9" fmla="*/ 401 h 482"/>
                  <a:gd name="T10" fmla="*/ 121 w 144"/>
                  <a:gd name="T11" fmla="*/ 402 h 482"/>
                  <a:gd name="T12" fmla="*/ 99 w 144"/>
                  <a:gd name="T13" fmla="*/ 406 h 482"/>
                  <a:gd name="T14" fmla="*/ 83 w 144"/>
                  <a:gd name="T15" fmla="*/ 393 h 482"/>
                  <a:gd name="T16" fmla="*/ 82 w 144"/>
                  <a:gd name="T17" fmla="*/ 350 h 482"/>
                  <a:gd name="T18" fmla="*/ 82 w 144"/>
                  <a:gd name="T19" fmla="*/ 11 h 482"/>
                  <a:gd name="T20" fmla="*/ 75 w 144"/>
                  <a:gd name="T21" fmla="*/ 0 h 482"/>
                  <a:gd name="T22" fmla="*/ 68 w 144"/>
                  <a:gd name="T23" fmla="*/ 2 h 482"/>
                  <a:gd name="T24" fmla="*/ 10 w 144"/>
                  <a:gd name="T25" fmla="*/ 13 h 482"/>
                  <a:gd name="T26" fmla="*/ 0 w 144"/>
                  <a:gd name="T27" fmla="*/ 26 h 482"/>
                  <a:gd name="T28" fmla="*/ 0 w 144"/>
                  <a:gd name="T29" fmla="*/ 356 h 482"/>
                  <a:gd name="T30" fmla="*/ 6 w 144"/>
                  <a:gd name="T31" fmla="*/ 435 h 482"/>
                  <a:gd name="T32" fmla="*/ 79 w 144"/>
                  <a:gd name="T33" fmla="*/ 482 h 482"/>
                  <a:gd name="T34" fmla="*/ 144 w 144"/>
                  <a:gd name="T35" fmla="*/ 464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482">
                    <a:moveTo>
                      <a:pt x="144" y="464"/>
                    </a:moveTo>
                    <a:cubicBezTo>
                      <a:pt x="144" y="463"/>
                      <a:pt x="144" y="462"/>
                      <a:pt x="144" y="461"/>
                    </a:cubicBezTo>
                    <a:cubicBezTo>
                      <a:pt x="143" y="458"/>
                      <a:pt x="143" y="458"/>
                      <a:pt x="143" y="458"/>
                    </a:cubicBezTo>
                    <a:cubicBezTo>
                      <a:pt x="130" y="405"/>
                      <a:pt x="130" y="405"/>
                      <a:pt x="130" y="405"/>
                    </a:cubicBezTo>
                    <a:cubicBezTo>
                      <a:pt x="130" y="403"/>
                      <a:pt x="128" y="401"/>
                      <a:pt x="125" y="401"/>
                    </a:cubicBezTo>
                    <a:cubicBezTo>
                      <a:pt x="124" y="401"/>
                      <a:pt x="122" y="401"/>
                      <a:pt x="121" y="402"/>
                    </a:cubicBezTo>
                    <a:cubicBezTo>
                      <a:pt x="112" y="405"/>
                      <a:pt x="106" y="406"/>
                      <a:pt x="99" y="406"/>
                    </a:cubicBezTo>
                    <a:cubicBezTo>
                      <a:pt x="90" y="406"/>
                      <a:pt x="86" y="402"/>
                      <a:pt x="83" y="393"/>
                    </a:cubicBezTo>
                    <a:cubicBezTo>
                      <a:pt x="82" y="388"/>
                      <a:pt x="82" y="386"/>
                      <a:pt x="82" y="350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5" y="0"/>
                    </a:cubicBezTo>
                    <a:cubicBezTo>
                      <a:pt x="74" y="0"/>
                      <a:pt x="74" y="0"/>
                      <a:pt x="68" y="2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3" y="15"/>
                      <a:pt x="0" y="19"/>
                      <a:pt x="0" y="26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412"/>
                      <a:pt x="0" y="420"/>
                      <a:pt x="6" y="435"/>
                    </a:cubicBezTo>
                    <a:cubicBezTo>
                      <a:pt x="16" y="466"/>
                      <a:pt x="42" y="482"/>
                      <a:pt x="79" y="482"/>
                    </a:cubicBezTo>
                    <a:cubicBezTo>
                      <a:pt x="110" y="482"/>
                      <a:pt x="144" y="472"/>
                      <a:pt x="144" y="46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5" name="Freeform 14">
                <a:extLst>
                  <a:ext uri="{FF2B5EF4-FFF2-40B4-BE49-F238E27FC236}">
                    <a16:creationId xmlns:a16="http://schemas.microsoft.com/office/drawing/2014/main" id="{82405CCE-A18D-49D5-AEEB-9BB84F66B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18" y="2309768"/>
                <a:ext cx="162882" cy="508150"/>
              </a:xfrm>
              <a:custGeom>
                <a:avLst/>
                <a:gdLst>
                  <a:gd name="T0" fmla="*/ 142 w 151"/>
                  <a:gd name="T1" fmla="*/ 458 h 469"/>
                  <a:gd name="T2" fmla="*/ 142 w 151"/>
                  <a:gd name="T3" fmla="*/ 159 h 469"/>
                  <a:gd name="T4" fmla="*/ 131 w 151"/>
                  <a:gd name="T5" fmla="*/ 148 h 469"/>
                  <a:gd name="T6" fmla="*/ 11 w 151"/>
                  <a:gd name="T7" fmla="*/ 148 h 469"/>
                  <a:gd name="T8" fmla="*/ 0 w 151"/>
                  <a:gd name="T9" fmla="*/ 159 h 469"/>
                  <a:gd name="T10" fmla="*/ 0 w 151"/>
                  <a:gd name="T11" fmla="*/ 197 h 469"/>
                  <a:gd name="T12" fmla="*/ 11 w 151"/>
                  <a:gd name="T13" fmla="*/ 208 h 469"/>
                  <a:gd name="T14" fmla="*/ 60 w 151"/>
                  <a:gd name="T15" fmla="*/ 208 h 469"/>
                  <a:gd name="T16" fmla="*/ 60 w 151"/>
                  <a:gd name="T17" fmla="*/ 458 h 469"/>
                  <a:gd name="T18" fmla="*/ 71 w 151"/>
                  <a:gd name="T19" fmla="*/ 469 h 469"/>
                  <a:gd name="T20" fmla="*/ 131 w 151"/>
                  <a:gd name="T21" fmla="*/ 469 h 469"/>
                  <a:gd name="T22" fmla="*/ 142 w 151"/>
                  <a:gd name="T23" fmla="*/ 458 h 469"/>
                  <a:gd name="T24" fmla="*/ 151 w 151"/>
                  <a:gd name="T25" fmla="*/ 52 h 469"/>
                  <a:gd name="T26" fmla="*/ 99 w 151"/>
                  <a:gd name="T27" fmla="*/ 0 h 469"/>
                  <a:gd name="T28" fmla="*/ 47 w 151"/>
                  <a:gd name="T29" fmla="*/ 52 h 469"/>
                  <a:gd name="T30" fmla="*/ 99 w 151"/>
                  <a:gd name="T31" fmla="*/ 105 h 469"/>
                  <a:gd name="T32" fmla="*/ 151 w 151"/>
                  <a:gd name="T33" fmla="*/ 5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1" h="469">
                    <a:moveTo>
                      <a:pt x="142" y="458"/>
                    </a:moveTo>
                    <a:cubicBezTo>
                      <a:pt x="142" y="159"/>
                      <a:pt x="142" y="159"/>
                      <a:pt x="142" y="159"/>
                    </a:cubicBezTo>
                    <a:cubicBezTo>
                      <a:pt x="142" y="149"/>
                      <a:pt x="141" y="148"/>
                      <a:pt x="131" y="148"/>
                    </a:cubicBezTo>
                    <a:cubicBezTo>
                      <a:pt x="11" y="148"/>
                      <a:pt x="11" y="148"/>
                      <a:pt x="11" y="148"/>
                    </a:cubicBezTo>
                    <a:cubicBezTo>
                      <a:pt x="1" y="148"/>
                      <a:pt x="0" y="149"/>
                      <a:pt x="0" y="159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7"/>
                      <a:pt x="1" y="208"/>
                      <a:pt x="11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458"/>
                      <a:pt x="60" y="458"/>
                      <a:pt x="60" y="458"/>
                    </a:cubicBezTo>
                    <a:cubicBezTo>
                      <a:pt x="60" y="467"/>
                      <a:pt x="61" y="469"/>
                      <a:pt x="71" y="469"/>
                    </a:cubicBezTo>
                    <a:cubicBezTo>
                      <a:pt x="131" y="469"/>
                      <a:pt x="131" y="469"/>
                      <a:pt x="131" y="469"/>
                    </a:cubicBezTo>
                    <a:cubicBezTo>
                      <a:pt x="141" y="469"/>
                      <a:pt x="142" y="467"/>
                      <a:pt x="142" y="458"/>
                    </a:cubicBezTo>
                    <a:close/>
                    <a:moveTo>
                      <a:pt x="151" y="52"/>
                    </a:moveTo>
                    <a:cubicBezTo>
                      <a:pt x="151" y="24"/>
                      <a:pt x="128" y="0"/>
                      <a:pt x="99" y="0"/>
                    </a:cubicBezTo>
                    <a:cubicBezTo>
                      <a:pt x="70" y="0"/>
                      <a:pt x="47" y="23"/>
                      <a:pt x="47" y="52"/>
                    </a:cubicBezTo>
                    <a:cubicBezTo>
                      <a:pt x="47" y="81"/>
                      <a:pt x="70" y="105"/>
                      <a:pt x="99" y="105"/>
                    </a:cubicBezTo>
                    <a:cubicBezTo>
                      <a:pt x="128" y="105"/>
                      <a:pt x="151" y="81"/>
                      <a:pt x="151" y="5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6" name="Freeform 15">
                <a:extLst>
                  <a:ext uri="{FF2B5EF4-FFF2-40B4-BE49-F238E27FC236}">
                    <a16:creationId xmlns:a16="http://schemas.microsoft.com/office/drawing/2014/main" id="{76EB0AFD-7208-4A2E-8C9C-242989F4A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674" y="2457890"/>
                <a:ext cx="260400" cy="372151"/>
              </a:xfrm>
              <a:custGeom>
                <a:avLst/>
                <a:gdLst>
                  <a:gd name="T0" fmla="*/ 241 w 241"/>
                  <a:gd name="T1" fmla="*/ 37 h 343"/>
                  <a:gd name="T2" fmla="*/ 150 w 241"/>
                  <a:gd name="T3" fmla="*/ 0 h 343"/>
                  <a:gd name="T4" fmla="*/ 0 w 241"/>
                  <a:gd name="T5" fmla="*/ 178 h 343"/>
                  <a:gd name="T6" fmla="*/ 139 w 241"/>
                  <a:gd name="T7" fmla="*/ 343 h 343"/>
                  <a:gd name="T8" fmla="*/ 233 w 241"/>
                  <a:gd name="T9" fmla="*/ 308 h 343"/>
                  <a:gd name="T10" fmla="*/ 231 w 241"/>
                  <a:gd name="T11" fmla="*/ 300 h 343"/>
                  <a:gd name="T12" fmla="*/ 215 w 241"/>
                  <a:gd name="T13" fmla="*/ 260 h 343"/>
                  <a:gd name="T14" fmla="*/ 210 w 241"/>
                  <a:gd name="T15" fmla="*/ 256 h 343"/>
                  <a:gd name="T16" fmla="*/ 203 w 241"/>
                  <a:gd name="T17" fmla="*/ 259 h 343"/>
                  <a:gd name="T18" fmla="*/ 150 w 241"/>
                  <a:gd name="T19" fmla="*/ 277 h 343"/>
                  <a:gd name="T20" fmla="*/ 86 w 241"/>
                  <a:gd name="T21" fmla="*/ 175 h 343"/>
                  <a:gd name="T22" fmla="*/ 150 w 241"/>
                  <a:gd name="T23" fmla="*/ 65 h 343"/>
                  <a:gd name="T24" fmla="*/ 204 w 241"/>
                  <a:gd name="T25" fmla="*/ 87 h 343"/>
                  <a:gd name="T26" fmla="*/ 211 w 241"/>
                  <a:gd name="T27" fmla="*/ 90 h 343"/>
                  <a:gd name="T28" fmla="*/ 217 w 241"/>
                  <a:gd name="T29" fmla="*/ 86 h 343"/>
                  <a:gd name="T30" fmla="*/ 239 w 241"/>
                  <a:gd name="T31" fmla="*/ 44 h 343"/>
                  <a:gd name="T32" fmla="*/ 241 w 241"/>
                  <a:gd name="T33" fmla="*/ 37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1" h="343">
                    <a:moveTo>
                      <a:pt x="241" y="37"/>
                    </a:moveTo>
                    <a:cubicBezTo>
                      <a:pt x="241" y="21"/>
                      <a:pt x="189" y="0"/>
                      <a:pt x="150" y="0"/>
                    </a:cubicBezTo>
                    <a:cubicBezTo>
                      <a:pt x="57" y="0"/>
                      <a:pt x="0" y="67"/>
                      <a:pt x="0" y="178"/>
                    </a:cubicBezTo>
                    <a:cubicBezTo>
                      <a:pt x="0" y="282"/>
                      <a:pt x="51" y="343"/>
                      <a:pt x="139" y="343"/>
                    </a:cubicBezTo>
                    <a:cubicBezTo>
                      <a:pt x="183" y="343"/>
                      <a:pt x="233" y="324"/>
                      <a:pt x="233" y="308"/>
                    </a:cubicBezTo>
                    <a:cubicBezTo>
                      <a:pt x="233" y="305"/>
                      <a:pt x="233" y="305"/>
                      <a:pt x="231" y="300"/>
                    </a:cubicBezTo>
                    <a:cubicBezTo>
                      <a:pt x="215" y="260"/>
                      <a:pt x="215" y="260"/>
                      <a:pt x="215" y="260"/>
                    </a:cubicBezTo>
                    <a:cubicBezTo>
                      <a:pt x="214" y="258"/>
                      <a:pt x="212" y="256"/>
                      <a:pt x="210" y="256"/>
                    </a:cubicBezTo>
                    <a:cubicBezTo>
                      <a:pt x="208" y="256"/>
                      <a:pt x="206" y="257"/>
                      <a:pt x="203" y="259"/>
                    </a:cubicBezTo>
                    <a:cubicBezTo>
                      <a:pt x="184" y="271"/>
                      <a:pt x="168" y="277"/>
                      <a:pt x="150" y="277"/>
                    </a:cubicBezTo>
                    <a:cubicBezTo>
                      <a:pt x="106" y="277"/>
                      <a:pt x="86" y="245"/>
                      <a:pt x="86" y="175"/>
                    </a:cubicBezTo>
                    <a:cubicBezTo>
                      <a:pt x="86" y="99"/>
                      <a:pt x="106" y="65"/>
                      <a:pt x="150" y="65"/>
                    </a:cubicBezTo>
                    <a:cubicBezTo>
                      <a:pt x="169" y="65"/>
                      <a:pt x="181" y="70"/>
                      <a:pt x="204" y="87"/>
                    </a:cubicBezTo>
                    <a:cubicBezTo>
                      <a:pt x="207" y="89"/>
                      <a:pt x="209" y="90"/>
                      <a:pt x="211" y="90"/>
                    </a:cubicBezTo>
                    <a:cubicBezTo>
                      <a:pt x="213" y="90"/>
                      <a:pt x="215" y="88"/>
                      <a:pt x="217" y="86"/>
                    </a:cubicBezTo>
                    <a:cubicBezTo>
                      <a:pt x="239" y="44"/>
                      <a:pt x="239" y="44"/>
                      <a:pt x="239" y="44"/>
                    </a:cubicBezTo>
                    <a:cubicBezTo>
                      <a:pt x="241" y="41"/>
                      <a:pt x="241" y="39"/>
                      <a:pt x="241" y="3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  <p:sp>
            <p:nvSpPr>
              <p:cNvPr id="67" name="Freeform 16">
                <a:extLst>
                  <a:ext uri="{FF2B5EF4-FFF2-40B4-BE49-F238E27FC236}">
                    <a16:creationId xmlns:a16="http://schemas.microsoft.com/office/drawing/2014/main" id="{BEDD3FC9-69F4-4907-86DD-5EA7BF30C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10" y="2307132"/>
                <a:ext cx="297299" cy="522909"/>
              </a:xfrm>
              <a:custGeom>
                <a:avLst/>
                <a:gdLst>
                  <a:gd name="T0" fmla="*/ 275 w 275"/>
                  <a:gd name="T1" fmla="*/ 443 h 482"/>
                  <a:gd name="T2" fmla="*/ 271 w 275"/>
                  <a:gd name="T3" fmla="*/ 435 h 482"/>
                  <a:gd name="T4" fmla="*/ 153 w 275"/>
                  <a:gd name="T5" fmla="*/ 291 h 482"/>
                  <a:gd name="T6" fmla="*/ 259 w 275"/>
                  <a:gd name="T7" fmla="*/ 188 h 482"/>
                  <a:gd name="T8" fmla="*/ 263 w 275"/>
                  <a:gd name="T9" fmla="*/ 180 h 482"/>
                  <a:gd name="T10" fmla="*/ 258 w 275"/>
                  <a:gd name="T11" fmla="*/ 173 h 482"/>
                  <a:gd name="T12" fmla="*/ 223 w 275"/>
                  <a:gd name="T13" fmla="*/ 145 h 482"/>
                  <a:gd name="T14" fmla="*/ 215 w 275"/>
                  <a:gd name="T15" fmla="*/ 140 h 482"/>
                  <a:gd name="T16" fmla="*/ 208 w 275"/>
                  <a:gd name="T17" fmla="*/ 145 h 482"/>
                  <a:gd name="T18" fmla="*/ 82 w 275"/>
                  <a:gd name="T19" fmla="*/ 272 h 482"/>
                  <a:gd name="T20" fmla="*/ 82 w 275"/>
                  <a:gd name="T21" fmla="*/ 11 h 482"/>
                  <a:gd name="T22" fmla="*/ 76 w 275"/>
                  <a:gd name="T23" fmla="*/ 0 h 482"/>
                  <a:gd name="T24" fmla="*/ 70 w 275"/>
                  <a:gd name="T25" fmla="*/ 1 h 482"/>
                  <a:gd name="T26" fmla="*/ 10 w 275"/>
                  <a:gd name="T27" fmla="*/ 13 h 482"/>
                  <a:gd name="T28" fmla="*/ 0 w 275"/>
                  <a:gd name="T29" fmla="*/ 25 h 482"/>
                  <a:gd name="T30" fmla="*/ 0 w 275"/>
                  <a:gd name="T31" fmla="*/ 460 h 482"/>
                  <a:gd name="T32" fmla="*/ 11 w 275"/>
                  <a:gd name="T33" fmla="*/ 471 h 482"/>
                  <a:gd name="T34" fmla="*/ 71 w 275"/>
                  <a:gd name="T35" fmla="*/ 471 h 482"/>
                  <a:gd name="T36" fmla="*/ 82 w 275"/>
                  <a:gd name="T37" fmla="*/ 460 h 482"/>
                  <a:gd name="T38" fmla="*/ 82 w 275"/>
                  <a:gd name="T39" fmla="*/ 320 h 482"/>
                  <a:gd name="T40" fmla="*/ 203 w 275"/>
                  <a:gd name="T41" fmla="*/ 476 h 482"/>
                  <a:gd name="T42" fmla="*/ 211 w 275"/>
                  <a:gd name="T43" fmla="*/ 482 h 482"/>
                  <a:gd name="T44" fmla="*/ 218 w 275"/>
                  <a:gd name="T45" fmla="*/ 479 h 482"/>
                  <a:gd name="T46" fmla="*/ 269 w 275"/>
                  <a:gd name="T47" fmla="*/ 451 h 482"/>
                  <a:gd name="T48" fmla="*/ 275 w 275"/>
                  <a:gd name="T49" fmla="*/ 443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5" h="482">
                    <a:moveTo>
                      <a:pt x="275" y="443"/>
                    </a:moveTo>
                    <a:cubicBezTo>
                      <a:pt x="275" y="441"/>
                      <a:pt x="274" y="438"/>
                      <a:pt x="271" y="435"/>
                    </a:cubicBezTo>
                    <a:cubicBezTo>
                      <a:pt x="153" y="291"/>
                      <a:pt x="153" y="291"/>
                      <a:pt x="153" y="291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62" y="185"/>
                      <a:pt x="263" y="182"/>
                      <a:pt x="263" y="180"/>
                    </a:cubicBezTo>
                    <a:cubicBezTo>
                      <a:pt x="263" y="178"/>
                      <a:pt x="261" y="175"/>
                      <a:pt x="258" y="173"/>
                    </a:cubicBezTo>
                    <a:cubicBezTo>
                      <a:pt x="223" y="145"/>
                      <a:pt x="223" y="145"/>
                      <a:pt x="223" y="145"/>
                    </a:cubicBezTo>
                    <a:cubicBezTo>
                      <a:pt x="218" y="140"/>
                      <a:pt x="218" y="140"/>
                      <a:pt x="215" y="140"/>
                    </a:cubicBezTo>
                    <a:cubicBezTo>
                      <a:pt x="213" y="140"/>
                      <a:pt x="213" y="140"/>
                      <a:pt x="208" y="145"/>
                    </a:cubicBezTo>
                    <a:cubicBezTo>
                      <a:pt x="82" y="272"/>
                      <a:pt x="82" y="272"/>
                      <a:pt x="82" y="272"/>
                    </a:cubicBezTo>
                    <a:cubicBezTo>
                      <a:pt x="82" y="11"/>
                      <a:pt x="82" y="11"/>
                      <a:pt x="82" y="11"/>
                    </a:cubicBezTo>
                    <a:cubicBezTo>
                      <a:pt x="82" y="4"/>
                      <a:pt x="80" y="0"/>
                      <a:pt x="76" y="0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" y="15"/>
                      <a:pt x="0" y="17"/>
                      <a:pt x="0" y="25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69"/>
                      <a:pt x="2" y="471"/>
                      <a:pt x="11" y="471"/>
                    </a:cubicBezTo>
                    <a:cubicBezTo>
                      <a:pt x="71" y="471"/>
                      <a:pt x="71" y="471"/>
                      <a:pt x="71" y="471"/>
                    </a:cubicBezTo>
                    <a:cubicBezTo>
                      <a:pt x="81" y="471"/>
                      <a:pt x="82" y="469"/>
                      <a:pt x="82" y="460"/>
                    </a:cubicBezTo>
                    <a:cubicBezTo>
                      <a:pt x="82" y="320"/>
                      <a:pt x="82" y="320"/>
                      <a:pt x="82" y="320"/>
                    </a:cubicBezTo>
                    <a:cubicBezTo>
                      <a:pt x="203" y="476"/>
                      <a:pt x="203" y="476"/>
                      <a:pt x="203" y="476"/>
                    </a:cubicBezTo>
                    <a:cubicBezTo>
                      <a:pt x="206" y="481"/>
                      <a:pt x="208" y="482"/>
                      <a:pt x="211" y="482"/>
                    </a:cubicBezTo>
                    <a:cubicBezTo>
                      <a:pt x="213" y="482"/>
                      <a:pt x="213" y="482"/>
                      <a:pt x="218" y="479"/>
                    </a:cubicBezTo>
                    <a:cubicBezTo>
                      <a:pt x="269" y="451"/>
                      <a:pt x="269" y="451"/>
                      <a:pt x="269" y="451"/>
                    </a:cubicBezTo>
                    <a:cubicBezTo>
                      <a:pt x="273" y="448"/>
                      <a:pt x="275" y="445"/>
                      <a:pt x="275" y="44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/>
              </a:p>
            </p:txBody>
          </p:sp>
        </p:grp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CC5A9D1-9CF7-4E59-BAA9-6A78649E671E}"/>
              </a:ext>
            </a:extLst>
          </p:cNvPr>
          <p:cNvCxnSpPr/>
          <p:nvPr/>
        </p:nvCxnSpPr>
        <p:spPr>
          <a:xfrm>
            <a:off x="915988" y="-214869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6">
            <a:extLst>
              <a:ext uri="{FF2B5EF4-FFF2-40B4-BE49-F238E27FC236}">
                <a16:creationId xmlns:a16="http://schemas.microsoft.com/office/drawing/2014/main" id="{D1454764-EFB9-4832-B2A4-C4ACCC03E157}"/>
              </a:ext>
            </a:extLst>
          </p:cNvPr>
          <p:cNvCxnSpPr>
            <a:cxnSpLocks/>
          </p:cNvCxnSpPr>
          <p:nvPr/>
        </p:nvCxnSpPr>
        <p:spPr>
          <a:xfrm rot="16200000">
            <a:off x="-131777" y="6189653"/>
            <a:ext cx="0" cy="168294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6" name="Objekt 14" hidden="1">
            <a:extLst>
              <a:ext uri="{FF2B5EF4-FFF2-40B4-BE49-F238E27FC236}">
                <a16:creationId xmlns:a16="http://schemas.microsoft.com/office/drawing/2014/main" id="{7439F3FA-9FB0-46C1-934A-7BB76942E6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794239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Folie" r:id="rId34" imgW="344" imgH="345" progId="TCLayout.ActiveDocument.1">
                  <p:embed/>
                </p:oleObj>
              </mc:Choice>
              <mc:Fallback>
                <p:oleObj name="think-cell Folie" r:id="rId34" imgW="344" imgH="345" progId="TCLayout.ActiveDocument.1">
                  <p:embed/>
                  <p:pic>
                    <p:nvPicPr>
                      <p:cNvPr id="46" name="Objekt 14" hidden="1">
                        <a:extLst>
                          <a:ext uri="{FF2B5EF4-FFF2-40B4-BE49-F238E27FC236}">
                            <a16:creationId xmlns:a16="http://schemas.microsoft.com/office/drawing/2014/main" id="{7439F3FA-9FB0-46C1-934A-7BB76942E6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hteck 13" hidden="1">
            <a:extLst>
              <a:ext uri="{FF2B5EF4-FFF2-40B4-BE49-F238E27FC236}">
                <a16:creationId xmlns:a16="http://schemas.microsoft.com/office/drawing/2014/main" id="{662020D5-745F-4095-A1D5-1C8F27F8D4AD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200" b="0" i="0" baseline="0">
              <a:latin typeface="Franklin Gothic Medium" panose="020B0603020102020204" pitchFamily="34" charset="0"/>
              <a:ea typeface="+mj-ea"/>
              <a:cs typeface="+mj-cs"/>
              <a:sym typeface="Franklin Gothic Medium" panose="020B0603020102020204" pitchFamily="34" charset="0"/>
            </a:endParaRPr>
          </a:p>
        </p:txBody>
      </p:sp>
      <p:sp>
        <p:nvSpPr>
          <p:cNvPr id="50" name="Titel 1">
            <a:extLst>
              <a:ext uri="{FF2B5EF4-FFF2-40B4-BE49-F238E27FC236}">
                <a16:creationId xmlns:a16="http://schemas.microsoft.com/office/drawing/2014/main" id="{F6EAAF46-38F8-48A1-96C3-B4D4ED8AE0C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71364" y="6495967"/>
            <a:ext cx="810603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900">
                <a:solidFill>
                  <a:schemeClr val="tx2"/>
                </a:solidFill>
                <a:latin typeface="+mn-lt"/>
              </a:rPr>
              <a:t>LichtBlick SE</a:t>
            </a:r>
          </a:p>
        </p:txBody>
      </p:sp>
      <p:sp>
        <p:nvSpPr>
          <p:cNvPr id="51" name="Rechteck 9">
            <a:extLst>
              <a:ext uri="{FF2B5EF4-FFF2-40B4-BE49-F238E27FC236}">
                <a16:creationId xmlns:a16="http://schemas.microsoft.com/office/drawing/2014/main" id="{50371395-8C6A-4EAD-AAE0-9245401D8E7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noFill/>
          <a:ln w="6350">
            <a:solidFill>
              <a:srgbClr val="DCDCD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n w="6350">
                <a:solidFill>
                  <a:schemeClr val="tx1"/>
                </a:solidFill>
              </a:ln>
            </a:endParaRPr>
          </a:p>
        </p:txBody>
      </p:sp>
      <p:sp>
        <p:nvSpPr>
          <p:cNvPr id="52" name="Freihandform 18">
            <a:extLst>
              <a:ext uri="{FF2B5EF4-FFF2-40B4-BE49-F238E27FC236}">
                <a16:creationId xmlns:a16="http://schemas.microsoft.com/office/drawing/2014/main" id="{F66A3062-3E07-4305-AEBE-F00DAE4E1CB8}"/>
              </a:ext>
            </a:extLst>
          </p:cNvPr>
          <p:cNvSpPr/>
          <p:nvPr userDrawn="1"/>
        </p:nvSpPr>
        <p:spPr bwMode="gray">
          <a:xfrm>
            <a:off x="11105877" y="6106855"/>
            <a:ext cx="1086123" cy="751144"/>
          </a:xfrm>
          <a:custGeom>
            <a:avLst/>
            <a:gdLst>
              <a:gd name="connsiteX0" fmla="*/ 1035701 w 1086123"/>
              <a:gd name="connsiteY0" fmla="*/ 673542 h 751144"/>
              <a:gd name="connsiteX1" fmla="*/ 1018841 w 1086123"/>
              <a:gd name="connsiteY1" fmla="*/ 751144 h 751144"/>
              <a:gd name="connsiteX2" fmla="*/ 751514 w 1086123"/>
              <a:gd name="connsiteY2" fmla="*/ 751144 h 751144"/>
              <a:gd name="connsiteX3" fmla="*/ 748933 w 1086123"/>
              <a:gd name="connsiteY3" fmla="*/ 748693 h 751144"/>
              <a:gd name="connsiteX4" fmla="*/ 1035701 w 1086123"/>
              <a:gd name="connsiteY4" fmla="*/ 673542 h 751144"/>
              <a:gd name="connsiteX5" fmla="*/ 288455 w 1086123"/>
              <a:gd name="connsiteY5" fmla="*/ 613231 h 751144"/>
              <a:gd name="connsiteX6" fmla="*/ 658816 w 1086123"/>
              <a:gd name="connsiteY6" fmla="*/ 747835 h 751144"/>
              <a:gd name="connsiteX7" fmla="*/ 661557 w 1086123"/>
              <a:gd name="connsiteY7" fmla="*/ 751144 h 751144"/>
              <a:gd name="connsiteX8" fmla="*/ 240675 w 1086123"/>
              <a:gd name="connsiteY8" fmla="*/ 751144 h 751144"/>
              <a:gd name="connsiteX9" fmla="*/ 240840 w 1086123"/>
              <a:gd name="connsiteY9" fmla="*/ 749671 h 751144"/>
              <a:gd name="connsiteX10" fmla="*/ 288455 w 1086123"/>
              <a:gd name="connsiteY10" fmla="*/ 613231 h 751144"/>
              <a:gd name="connsiteX11" fmla="*/ 73748 w 1086123"/>
              <a:gd name="connsiteY11" fmla="*/ 369743 h 751144"/>
              <a:gd name="connsiteX12" fmla="*/ 94418 w 1086123"/>
              <a:gd name="connsiteY12" fmla="*/ 406451 h 751144"/>
              <a:gd name="connsiteX13" fmla="*/ 232441 w 1086123"/>
              <a:gd name="connsiteY13" fmla="*/ 568346 h 751144"/>
              <a:gd name="connsiteX14" fmla="*/ 174808 w 1086123"/>
              <a:gd name="connsiteY14" fmla="*/ 725715 h 751144"/>
              <a:gd name="connsiteX15" fmla="*/ 171777 w 1086123"/>
              <a:gd name="connsiteY15" fmla="*/ 751144 h 751144"/>
              <a:gd name="connsiteX16" fmla="*/ 7450 w 1086123"/>
              <a:gd name="connsiteY16" fmla="*/ 751144 h 751144"/>
              <a:gd name="connsiteX17" fmla="*/ 0 w 1086123"/>
              <a:gd name="connsiteY17" fmla="*/ 677044 h 751144"/>
              <a:gd name="connsiteX18" fmla="*/ 53305 w 1086123"/>
              <a:gd name="connsiteY18" fmla="*/ 412297 h 751144"/>
              <a:gd name="connsiteX19" fmla="*/ 519837 w 1086123"/>
              <a:gd name="connsiteY19" fmla="*/ 345915 h 751144"/>
              <a:gd name="connsiteX20" fmla="*/ 610788 w 1086123"/>
              <a:gd name="connsiteY20" fmla="*/ 671985 h 751144"/>
              <a:gd name="connsiteX21" fmla="*/ 321692 w 1086123"/>
              <a:gd name="connsiteY21" fmla="*/ 551339 h 751144"/>
              <a:gd name="connsiteX22" fmla="*/ 519837 w 1086123"/>
              <a:gd name="connsiteY22" fmla="*/ 345915 h 751144"/>
              <a:gd name="connsiteX23" fmla="*/ 1026776 w 1086123"/>
              <a:gd name="connsiteY23" fmla="*/ 252141 h 751144"/>
              <a:gd name="connsiteX24" fmla="*/ 1086123 w 1086123"/>
              <a:gd name="connsiteY24" fmla="*/ 272008 h 751144"/>
              <a:gd name="connsiteX25" fmla="*/ 1086123 w 1086123"/>
              <a:gd name="connsiteY25" fmla="*/ 412436 h 751144"/>
              <a:gd name="connsiteX26" fmla="*/ 1082754 w 1086123"/>
              <a:gd name="connsiteY26" fmla="*/ 392721 h 751144"/>
              <a:gd name="connsiteX27" fmla="*/ 1026776 w 1086123"/>
              <a:gd name="connsiteY27" fmla="*/ 252141 h 751144"/>
              <a:gd name="connsiteX28" fmla="*/ 811915 w 1086123"/>
              <a:gd name="connsiteY28" fmla="*/ 242518 h 751144"/>
              <a:gd name="connsiteX29" fmla="*/ 1008876 w 1086123"/>
              <a:gd name="connsiteY29" fmla="*/ 393047 h 751144"/>
              <a:gd name="connsiteX30" fmla="*/ 878877 w 1086123"/>
              <a:gd name="connsiteY30" fmla="*/ 657577 h 751144"/>
              <a:gd name="connsiteX31" fmla="*/ 620502 w 1086123"/>
              <a:gd name="connsiteY31" fmla="*/ 516331 h 751144"/>
              <a:gd name="connsiteX32" fmla="*/ 751314 w 1086123"/>
              <a:gd name="connsiteY32" fmla="*/ 251801 h 751144"/>
              <a:gd name="connsiteX33" fmla="*/ 811915 w 1086123"/>
              <a:gd name="connsiteY33" fmla="*/ 242518 h 751144"/>
              <a:gd name="connsiteX34" fmla="*/ 824105 w 1086123"/>
              <a:gd name="connsiteY34" fmla="*/ 13050 h 751144"/>
              <a:gd name="connsiteX35" fmla="*/ 880017 w 1086123"/>
              <a:gd name="connsiteY35" fmla="*/ 27466 h 751144"/>
              <a:gd name="connsiteX36" fmla="*/ 1030036 w 1086123"/>
              <a:gd name="connsiteY36" fmla="*/ 95356 h 751144"/>
              <a:gd name="connsiteX37" fmla="*/ 1086123 w 1086123"/>
              <a:gd name="connsiteY37" fmla="*/ 134335 h 751144"/>
              <a:gd name="connsiteX38" fmla="*/ 1086123 w 1086123"/>
              <a:gd name="connsiteY38" fmla="*/ 195151 h 751144"/>
              <a:gd name="connsiteX39" fmla="*/ 1084145 w 1086123"/>
              <a:gd name="connsiteY39" fmla="*/ 194423 h 751144"/>
              <a:gd name="connsiteX40" fmla="*/ 977328 w 1086123"/>
              <a:gd name="connsiteY40" fmla="*/ 172031 h 751144"/>
              <a:gd name="connsiteX41" fmla="*/ 832504 w 1086123"/>
              <a:gd name="connsiteY41" fmla="*/ 19068 h 751144"/>
              <a:gd name="connsiteX42" fmla="*/ 590403 w 1086123"/>
              <a:gd name="connsiteY42" fmla="*/ 3238 h 751144"/>
              <a:gd name="connsiteX43" fmla="*/ 572100 w 1086123"/>
              <a:gd name="connsiteY43" fmla="*/ 42273 h 751144"/>
              <a:gd name="connsiteX44" fmla="*/ 521397 w 1086123"/>
              <a:gd name="connsiteY44" fmla="*/ 262672 h 751144"/>
              <a:gd name="connsiteX45" fmla="*/ 267221 w 1086123"/>
              <a:gd name="connsiteY45" fmla="*/ 506616 h 751144"/>
              <a:gd name="connsiteX46" fmla="*/ 135325 w 1086123"/>
              <a:gd name="connsiteY46" fmla="*/ 337846 h 751144"/>
              <a:gd name="connsiteX47" fmla="*/ 115730 w 1086123"/>
              <a:gd name="connsiteY47" fmla="*/ 296951 h 751144"/>
              <a:gd name="connsiteX48" fmla="*/ 115845 w 1086123"/>
              <a:gd name="connsiteY48" fmla="*/ 296762 h 751144"/>
              <a:gd name="connsiteX49" fmla="*/ 541606 w 1086123"/>
              <a:gd name="connsiteY49" fmla="*/ 10706 h 751144"/>
              <a:gd name="connsiteX50" fmla="*/ 670086 w 1086123"/>
              <a:gd name="connsiteY50" fmla="*/ 0 h 751144"/>
              <a:gd name="connsiteX51" fmla="*/ 883974 w 1086123"/>
              <a:gd name="connsiteY51" fmla="*/ 166233 h 751144"/>
              <a:gd name="connsiteX52" fmla="*/ 883161 w 1086123"/>
              <a:gd name="connsiteY52" fmla="*/ 166233 h 751144"/>
              <a:gd name="connsiteX53" fmla="*/ 595266 w 1086123"/>
              <a:gd name="connsiteY53" fmla="*/ 224903 h 751144"/>
              <a:gd name="connsiteX54" fmla="*/ 670086 w 1086123"/>
              <a:gd name="connsiteY54" fmla="*/ 0 h 751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1086123" h="751144">
                <a:moveTo>
                  <a:pt x="1035701" y="673542"/>
                </a:moveTo>
                <a:lnTo>
                  <a:pt x="1018841" y="751144"/>
                </a:lnTo>
                <a:lnTo>
                  <a:pt x="751514" y="751144"/>
                </a:lnTo>
                <a:lnTo>
                  <a:pt x="748933" y="748693"/>
                </a:lnTo>
                <a:cubicBezTo>
                  <a:pt x="852105" y="743791"/>
                  <a:pt x="948777" y="716835"/>
                  <a:pt x="1035701" y="673542"/>
                </a:cubicBezTo>
                <a:close/>
                <a:moveTo>
                  <a:pt x="288455" y="613231"/>
                </a:moveTo>
                <a:cubicBezTo>
                  <a:pt x="394040" y="689099"/>
                  <a:pt x="521555" y="738046"/>
                  <a:pt x="658816" y="747835"/>
                </a:cubicBezTo>
                <a:lnTo>
                  <a:pt x="661557" y="751144"/>
                </a:lnTo>
                <a:lnTo>
                  <a:pt x="240675" y="751144"/>
                </a:lnTo>
                <a:lnTo>
                  <a:pt x="240840" y="749671"/>
                </a:lnTo>
                <a:cubicBezTo>
                  <a:pt x="251703" y="702152"/>
                  <a:pt x="267744" y="656468"/>
                  <a:pt x="288455" y="613231"/>
                </a:cubicBezTo>
                <a:close/>
                <a:moveTo>
                  <a:pt x="73748" y="369743"/>
                </a:moveTo>
                <a:lnTo>
                  <a:pt x="94418" y="406451"/>
                </a:lnTo>
                <a:cubicBezTo>
                  <a:pt x="132421" y="467071"/>
                  <a:pt x="178772" y="521839"/>
                  <a:pt x="232441" y="568346"/>
                </a:cubicBezTo>
                <a:cubicBezTo>
                  <a:pt x="207639" y="618117"/>
                  <a:pt x="188123" y="670743"/>
                  <a:pt x="174808" y="725715"/>
                </a:cubicBezTo>
                <a:lnTo>
                  <a:pt x="171777" y="751144"/>
                </a:lnTo>
                <a:lnTo>
                  <a:pt x="7450" y="751144"/>
                </a:lnTo>
                <a:lnTo>
                  <a:pt x="0" y="677044"/>
                </a:lnTo>
                <a:cubicBezTo>
                  <a:pt x="0" y="583134"/>
                  <a:pt x="18981" y="493669"/>
                  <a:pt x="53305" y="412297"/>
                </a:cubicBezTo>
                <a:close/>
                <a:moveTo>
                  <a:pt x="519837" y="345915"/>
                </a:moveTo>
                <a:cubicBezTo>
                  <a:pt x="523897" y="464116"/>
                  <a:pt x="556380" y="574164"/>
                  <a:pt x="610788" y="671985"/>
                </a:cubicBezTo>
                <a:cubicBezTo>
                  <a:pt x="503595" y="654867"/>
                  <a:pt x="405335" y="612478"/>
                  <a:pt x="321692" y="551339"/>
                </a:cubicBezTo>
                <a:cubicBezTo>
                  <a:pt x="372040" y="469007"/>
                  <a:pt x="439442" y="398901"/>
                  <a:pt x="519837" y="345915"/>
                </a:cubicBezTo>
                <a:close/>
                <a:moveTo>
                  <a:pt x="1026776" y="252141"/>
                </a:moveTo>
                <a:lnTo>
                  <a:pt x="1086123" y="272008"/>
                </a:lnTo>
                <a:lnTo>
                  <a:pt x="1086123" y="412436"/>
                </a:lnTo>
                <a:lnTo>
                  <a:pt x="1082754" y="392721"/>
                </a:lnTo>
                <a:cubicBezTo>
                  <a:pt x="1068836" y="343620"/>
                  <a:pt x="1049940" y="296556"/>
                  <a:pt x="1026776" y="252141"/>
                </a:cubicBezTo>
                <a:close/>
                <a:moveTo>
                  <a:pt x="811915" y="242518"/>
                </a:moveTo>
                <a:cubicBezTo>
                  <a:pt x="899002" y="243085"/>
                  <a:pt x="980490" y="302166"/>
                  <a:pt x="1008876" y="393047"/>
                </a:cubicBezTo>
                <a:cubicBezTo>
                  <a:pt x="1044626" y="504901"/>
                  <a:pt x="986126" y="623286"/>
                  <a:pt x="878877" y="657577"/>
                </a:cubicBezTo>
                <a:cubicBezTo>
                  <a:pt x="771627" y="691052"/>
                  <a:pt x="655440" y="628185"/>
                  <a:pt x="620502" y="516331"/>
                </a:cubicBezTo>
                <a:cubicBezTo>
                  <a:pt x="585565" y="403661"/>
                  <a:pt x="644065" y="285276"/>
                  <a:pt x="751314" y="251801"/>
                </a:cubicBezTo>
                <a:cubicBezTo>
                  <a:pt x="771424" y="245372"/>
                  <a:pt x="791819" y="242387"/>
                  <a:pt x="811915" y="242518"/>
                </a:cubicBezTo>
                <a:close/>
                <a:moveTo>
                  <a:pt x="824105" y="13050"/>
                </a:moveTo>
                <a:lnTo>
                  <a:pt x="880017" y="27466"/>
                </a:lnTo>
                <a:cubicBezTo>
                  <a:pt x="933117" y="44027"/>
                  <a:pt x="983419" y="66954"/>
                  <a:pt x="1030036" y="95356"/>
                </a:cubicBezTo>
                <a:lnTo>
                  <a:pt x="1086123" y="134335"/>
                </a:lnTo>
                <a:lnTo>
                  <a:pt x="1086123" y="195151"/>
                </a:lnTo>
                <a:lnTo>
                  <a:pt x="1084145" y="194423"/>
                </a:lnTo>
                <a:cubicBezTo>
                  <a:pt x="1049568" y="184463"/>
                  <a:pt x="1013906" y="176928"/>
                  <a:pt x="977328" y="172031"/>
                </a:cubicBezTo>
                <a:cubicBezTo>
                  <a:pt x="936483" y="114503"/>
                  <a:pt x="887865" y="62941"/>
                  <a:pt x="832504" y="19068"/>
                </a:cubicBezTo>
                <a:close/>
                <a:moveTo>
                  <a:pt x="590403" y="3238"/>
                </a:moveTo>
                <a:lnTo>
                  <a:pt x="572100" y="42273"/>
                </a:lnTo>
                <a:cubicBezTo>
                  <a:pt x="544236" y="110920"/>
                  <a:pt x="526878" y="184960"/>
                  <a:pt x="521397" y="262672"/>
                </a:cubicBezTo>
                <a:cubicBezTo>
                  <a:pt x="418265" y="322230"/>
                  <a:pt x="330562" y="406264"/>
                  <a:pt x="267221" y="506616"/>
                </a:cubicBezTo>
                <a:cubicBezTo>
                  <a:pt x="214234" y="458276"/>
                  <a:pt x="169926" y="401216"/>
                  <a:pt x="135325" y="337846"/>
                </a:cubicBezTo>
                <a:lnTo>
                  <a:pt x="115730" y="296951"/>
                </a:lnTo>
                <a:lnTo>
                  <a:pt x="115845" y="296762"/>
                </a:lnTo>
                <a:cubicBezTo>
                  <a:pt x="213362" y="152024"/>
                  <a:pt x="364981" y="46947"/>
                  <a:pt x="541606" y="10706"/>
                </a:cubicBezTo>
                <a:close/>
                <a:moveTo>
                  <a:pt x="670086" y="0"/>
                </a:moveTo>
                <a:cubicBezTo>
                  <a:pt x="752226" y="39929"/>
                  <a:pt x="825419" y="96155"/>
                  <a:pt x="883974" y="166233"/>
                </a:cubicBezTo>
                <a:cubicBezTo>
                  <a:pt x="883974" y="166233"/>
                  <a:pt x="883161" y="166233"/>
                  <a:pt x="883161" y="166233"/>
                </a:cubicBezTo>
                <a:cubicBezTo>
                  <a:pt x="780690" y="166233"/>
                  <a:pt x="683099" y="186605"/>
                  <a:pt x="595266" y="224903"/>
                </a:cubicBezTo>
                <a:cubicBezTo>
                  <a:pt x="606652" y="144232"/>
                  <a:pt x="631863" y="68449"/>
                  <a:pt x="670086" y="0"/>
                </a:cubicBezTo>
                <a:close/>
              </a:path>
            </a:pathLst>
          </a:cu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27927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  <p:sldLayoutId id="2147483834" r:id="rId15"/>
    <p:sldLayoutId id="2147483835" r:id="rId16"/>
    <p:sldLayoutId id="2147483836" r:id="rId17"/>
    <p:sldLayoutId id="2147483837" r:id="rId18"/>
    <p:sldLayoutId id="2147483838" r:id="rId19"/>
    <p:sldLayoutId id="2147483839" r:id="rId20"/>
    <p:sldLayoutId id="2147483840" r:id="rId21"/>
    <p:sldLayoutId id="2147483841" r:id="rId22"/>
    <p:sldLayoutId id="2147483842" r:id="rId23"/>
    <p:sldLayoutId id="2147483843" r:id="rId24"/>
    <p:sldLayoutId id="2147483844" r:id="rId25"/>
    <p:sldLayoutId id="2147483845" r:id="rId26"/>
    <p:sldLayoutId id="2147483846" r:id="rId27"/>
    <p:sldLayoutId id="2147483847" r:id="rId28"/>
    <p:sldLayoutId id="214748384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400" kern="1200" baseline="0" dirty="0">
          <a:solidFill>
            <a:schemeClr val="tx1"/>
          </a:solidFill>
          <a:latin typeface="Officina Sans ITC Pro Medium" panose="020C0606030503020204" pitchFamily="34" charset="0"/>
          <a:ea typeface="Inter Medium" panose="020B0502030000000004" pitchFamily="34" charset="0"/>
          <a:cs typeface="+mn-cs"/>
        </a:defRPr>
      </a:lvl1pPr>
      <a:lvl2pPr algn="l" eaLnBrk="1" hangingPunct="1">
        <a:defRPr sz="2400" kern="1200" baseline="0">
          <a:solidFill>
            <a:schemeClr val="tx1"/>
          </a:solidFill>
          <a:latin typeface="+mj-lt"/>
        </a:defRPr>
      </a:lvl2pPr>
      <a:lvl3pPr algn="l" eaLnBrk="1" hangingPunct="1">
        <a:defRPr sz="2400" kern="1200" baseline="0">
          <a:solidFill>
            <a:schemeClr val="tx1"/>
          </a:solidFill>
          <a:latin typeface="+mj-lt"/>
        </a:defRPr>
      </a:lvl3pPr>
      <a:lvl4pPr algn="l" eaLnBrk="1" hangingPunct="1">
        <a:defRPr sz="2400" b="0" kern="1200" baseline="0">
          <a:solidFill>
            <a:schemeClr val="tx1"/>
          </a:solidFill>
          <a:latin typeface="+mj-lt"/>
        </a:defRPr>
      </a:lvl4pPr>
      <a:lvl5pPr algn="l" eaLnBrk="1" hangingPunct="1">
        <a:defRPr sz="2400" kern="1200" baseline="0">
          <a:solidFill>
            <a:schemeClr val="tx1"/>
          </a:solidFill>
          <a:latin typeface="+mj-lt"/>
        </a:defRPr>
      </a:lvl5pPr>
      <a:lvl6pPr algn="l" eaLnBrk="1" hangingPunct="1">
        <a:defRPr sz="2400" kern="1200" baseline="0">
          <a:solidFill>
            <a:schemeClr val="tx1"/>
          </a:solidFill>
          <a:latin typeface="+mj-lt"/>
        </a:defRPr>
      </a:lvl6pPr>
      <a:lvl7pPr algn="l" eaLnBrk="1" hangingPunct="1">
        <a:defRPr sz="2400" kern="1200" baseline="0">
          <a:solidFill>
            <a:schemeClr val="tx1"/>
          </a:solidFill>
          <a:latin typeface="+mj-lt"/>
        </a:defRPr>
      </a:lvl7pPr>
      <a:lvl8pPr algn="l" eaLnBrk="1" hangingPunct="1">
        <a:defRPr sz="2400" kern="1200" baseline="0">
          <a:solidFill>
            <a:schemeClr val="tx1"/>
          </a:solidFill>
          <a:latin typeface="+mj-lt"/>
        </a:defRPr>
      </a:lvl8pPr>
      <a:lvl9pPr algn="l" eaLnBrk="1" hangingPunct="1">
        <a:defRPr sz="2400" kern="1200" baseline="0">
          <a:solidFill>
            <a:schemeClr val="tx1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SzPct val="90000"/>
        <a:buFont typeface="Inter Semi Bold" panose="020B0702030000000004" pitchFamily="34" charset="0"/>
        <a:buChar char="○"/>
        <a:defRPr lang="de-DE" sz="1200" b="0" kern="1200" dirty="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2pPr>
      <a:lvl3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rabi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+mj-lt"/>
        <a:buAutoNum type="alphaLcPeriod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Inter Semi Bold" panose="020B0702030000000004" pitchFamily="34" charset="0"/>
          <a:ea typeface="Inter Semi Bold" panose="020B0702030000000004" pitchFamily="34" charset="0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F26B43"/>
          </p15:clr>
        </p15:guide>
        <p15:guide id="10" orient="horz" pos="2546">
          <p15:clr>
            <a:srgbClr val="A4A3A4"/>
          </p15:clr>
        </p15:guide>
        <p15:guide id="11" orient="horz" pos="1774">
          <p15:clr>
            <a:srgbClr val="A4A3A4"/>
          </p15:clr>
        </p15:guide>
        <p15:guide id="12" orient="horz" pos="1003">
          <p15:clr>
            <a:srgbClr val="F26B43"/>
          </p15:clr>
        </p15:guide>
        <p15:guide id="13" orient="horz" pos="3317">
          <p15:clr>
            <a:srgbClr val="A4A3A4"/>
          </p15:clr>
        </p15:guide>
        <p15:guide id="14" orient="horz" pos="4088">
          <p15:clr>
            <a:srgbClr val="A4A3A4"/>
          </p15:clr>
        </p15:guide>
        <p15:guide id="15" orient="horz" pos="232">
          <p15:clr>
            <a:srgbClr val="F26B43"/>
          </p15:clr>
        </p15:guide>
        <p15:guide id="17" pos="211">
          <p15:clr>
            <a:srgbClr val="F26B43"/>
          </p15:clr>
        </p15:guide>
        <p15:guide id="18" pos="7469">
          <p15:clr>
            <a:srgbClr val="F26B43"/>
          </p15:clr>
        </p15:guide>
        <p15:guide id="19" pos="6743">
          <p15:clr>
            <a:srgbClr val="A4A3A4"/>
          </p15:clr>
        </p15:guide>
        <p15:guide id="20" pos="937">
          <p15:clr>
            <a:srgbClr val="A4A3A4"/>
          </p15:clr>
        </p15:guide>
        <p15:guide id="21" pos="1663">
          <p15:clr>
            <a:srgbClr val="A4A3A4"/>
          </p15:clr>
        </p15:guide>
        <p15:guide id="22" pos="2389">
          <p15:clr>
            <a:srgbClr val="A4A3A4"/>
          </p15:clr>
        </p15:guide>
        <p15:guide id="23" pos="5292">
          <p15:clr>
            <a:srgbClr val="A4A3A4"/>
          </p15:clr>
        </p15:guide>
        <p15:guide id="24" pos="6017">
          <p15:clr>
            <a:srgbClr val="A4A3A4"/>
          </p15:clr>
        </p15:guide>
        <p15:guide id="25" pos="3114">
          <p15:clr>
            <a:srgbClr val="A4A3A4"/>
          </p15:clr>
        </p15:guide>
        <p15:guide id="26" pos="4566">
          <p15:clr>
            <a:srgbClr val="A4A3A4"/>
          </p15:clr>
        </p15:guide>
        <p15:guide id="27" pos="4793">
          <p15:clr>
            <a:srgbClr val="A4A3A4"/>
          </p15:clr>
        </p15:guide>
        <p15:guide id="28" pos="2887">
          <p15:clr>
            <a:srgbClr val="A4A3A4"/>
          </p15:clr>
        </p15:guide>
        <p15:guide id="29" orient="horz" pos="595">
          <p15:clr>
            <a:srgbClr val="A4A3A4"/>
          </p15:clr>
        </p15:guide>
        <p15:guide id="30" pos="574">
          <p15:clr>
            <a:srgbClr val="A4A3A4"/>
          </p15:clr>
        </p15:guide>
        <p15:guide id="31" orient="horz" pos="3952">
          <p15:clr>
            <a:srgbClr val="F26B43"/>
          </p15:clr>
        </p15:guide>
        <p15:guide id="32" pos="234" userDrawn="1">
          <p15:clr>
            <a:srgbClr val="F26B43"/>
          </p15:clr>
        </p15:guide>
        <p15:guide id="33" pos="7446" userDrawn="1">
          <p15:clr>
            <a:srgbClr val="F26B43"/>
          </p15:clr>
        </p15:guide>
        <p15:guide id="34" orient="horz" pos="935" userDrawn="1">
          <p15:clr>
            <a:srgbClr val="F26B43"/>
          </p15:clr>
        </p15:guide>
        <p15:guide id="35" orient="horz" pos="3997" userDrawn="1">
          <p15:clr>
            <a:srgbClr val="F26B43"/>
          </p15:clr>
        </p15:guide>
        <p15:guide id="36" pos="3976" userDrawn="1">
          <p15:clr>
            <a:srgbClr val="F26B43"/>
          </p15:clr>
        </p15:guide>
        <p15:guide id="37" pos="3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196007C-D355-46DC-AEC8-8F05BBF16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Officina Sans ITC Pro Medium"/>
              </a:rPr>
              <a:t>Longmengen</a:t>
            </a:r>
            <a:r>
              <a:rPr lang="de-DE" dirty="0">
                <a:latin typeface="Officina Sans ITC Pro Medium"/>
              </a:rPr>
              <a:t> Gas</a:t>
            </a:r>
            <a:endParaRPr lang="en-US" i="1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5"/>
          </p:nvPr>
        </p:nvSpPr>
        <p:spPr bwMode="gray"/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Financial Risk Management DE</a:t>
            </a:r>
          </a:p>
          <a:p>
            <a:r>
              <a:rPr lang="de-DE" dirty="0"/>
              <a:t>2022-05-1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6936439-3515-4BF5-A2C4-333F323161C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3C06D6-907A-44E5-90D5-06612E4EF69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1</a:t>
            </a:fld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77662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9C5FBF6-7B6A-4A6A-942C-843C303E26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err="1"/>
              <a:t>value</a:t>
            </a:r>
            <a:r>
              <a:rPr lang="de-DE" dirty="0"/>
              <a:t> and MtM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long</a:t>
            </a:r>
            <a:r>
              <a:rPr lang="de-DE" dirty="0"/>
              <a:t> </a:t>
            </a:r>
            <a:r>
              <a:rPr lang="de-DE" dirty="0" err="1"/>
              <a:t>positions</a:t>
            </a:r>
            <a:r>
              <a:rPr lang="de-DE" dirty="0"/>
              <a:t>. And possible </a:t>
            </a:r>
            <a:r>
              <a:rPr lang="de-DE" dirty="0" err="1"/>
              <a:t>chang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40681C-2B6B-4BF3-8156-1F255F4BC94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0FAA99-976A-4C16-AEC0-4CCD014D206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3A9ED34-E645-4E2F-8CDC-B603C25EBB9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de-DE" b="1" dirty="0">
                <a:solidFill>
                  <a:schemeClr val="accent1"/>
                </a:solidFill>
              </a:rPr>
              <a:t>2022 ROY and 2023-2026</a:t>
            </a:r>
            <a:endParaRPr lang="en-US" b="1" dirty="0">
              <a:solidFill>
                <a:schemeClr val="accent1"/>
              </a:solidFill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B14F4DC8-316F-BBD2-9E4D-29C009297B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0321516"/>
              </p:ext>
            </p:extLst>
          </p:nvPr>
        </p:nvGraphicFramePr>
        <p:xfrm>
          <a:off x="305266" y="1381894"/>
          <a:ext cx="5743895" cy="21756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75100">
                  <a:extLst>
                    <a:ext uri="{9D8B030D-6E8A-4147-A177-3AD203B41FA5}">
                      <a16:colId xmlns:a16="http://schemas.microsoft.com/office/drawing/2014/main" val="4208061535"/>
                    </a:ext>
                  </a:extLst>
                </a:gridCol>
                <a:gridCol w="301646">
                  <a:extLst>
                    <a:ext uri="{9D8B030D-6E8A-4147-A177-3AD203B41FA5}">
                      <a16:colId xmlns:a16="http://schemas.microsoft.com/office/drawing/2014/main" val="2807012865"/>
                    </a:ext>
                  </a:extLst>
                </a:gridCol>
                <a:gridCol w="691790">
                  <a:extLst>
                    <a:ext uri="{9D8B030D-6E8A-4147-A177-3AD203B41FA5}">
                      <a16:colId xmlns:a16="http://schemas.microsoft.com/office/drawing/2014/main" val="3032315393"/>
                    </a:ext>
                  </a:extLst>
                </a:gridCol>
                <a:gridCol w="864038">
                  <a:extLst>
                    <a:ext uri="{9D8B030D-6E8A-4147-A177-3AD203B41FA5}">
                      <a16:colId xmlns:a16="http://schemas.microsoft.com/office/drawing/2014/main" val="1813623297"/>
                    </a:ext>
                  </a:extLst>
                </a:gridCol>
                <a:gridCol w="1004611">
                  <a:extLst>
                    <a:ext uri="{9D8B030D-6E8A-4147-A177-3AD203B41FA5}">
                      <a16:colId xmlns:a16="http://schemas.microsoft.com/office/drawing/2014/main" val="2851050693"/>
                    </a:ext>
                  </a:extLst>
                </a:gridCol>
                <a:gridCol w="906710">
                  <a:extLst>
                    <a:ext uri="{9D8B030D-6E8A-4147-A177-3AD203B41FA5}">
                      <a16:colId xmlns:a16="http://schemas.microsoft.com/office/drawing/2014/main" val="3246402121"/>
                    </a:ext>
                  </a:extLst>
                </a:gridCol>
              </a:tblGrid>
              <a:tr h="183518"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pen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urrent valu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1057566"/>
                  </a:ext>
                </a:extLst>
              </a:tr>
              <a:tr h="340457"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um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rketprice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rketvalue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tm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extLst>
                  <a:ext uri="{0D108BD9-81ED-4DB2-BD59-A6C34878D82A}">
                    <a16:rowId xmlns:a16="http://schemas.microsoft.com/office/drawing/2014/main" val="643571425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Wh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</a:t>
                      </a:r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/MWh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extLst>
                  <a:ext uri="{0D108BD9-81ED-4DB2-BD59-A6C34878D82A}">
                    <a16:rowId xmlns:a16="http://schemas.microsoft.com/office/drawing/2014/main" val="61567059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2-06-01 00:00:00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 18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7.6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095 89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39 39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extLst>
                  <a:ext uri="{0D108BD9-81ED-4DB2-BD59-A6C34878D82A}">
                    <a16:rowId xmlns:a16="http://schemas.microsoft.com/office/drawing/2014/main" val="2294952921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2-07-01 00:00:00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 88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0.1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088 67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49 93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extLst>
                  <a:ext uri="{0D108BD9-81ED-4DB2-BD59-A6C34878D82A}">
                    <a16:rowId xmlns:a16="http://schemas.microsoft.com/office/drawing/2014/main" val="4291850567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2-08-01 00:00:00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24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9.6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84 82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4 38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extLst>
                  <a:ext uri="{0D108BD9-81ED-4DB2-BD59-A6C34878D82A}">
                    <a16:rowId xmlns:a16="http://schemas.microsoft.com/office/drawing/2014/main" val="3452750772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2-09-01 00:00:00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01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0.3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73 37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5 73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extLst>
                  <a:ext uri="{0D108BD9-81ED-4DB2-BD59-A6C34878D82A}">
                    <a16:rowId xmlns:a16="http://schemas.microsoft.com/office/drawing/2014/main" val="3434122176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2-10-01 00:00:00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 69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7.1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424 39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489 25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extLst>
                  <a:ext uri="{0D108BD9-81ED-4DB2-BD59-A6C34878D82A}">
                    <a16:rowId xmlns:a16="http://schemas.microsoft.com/office/drawing/2014/main" val="4131393579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2-11-01 00:00:00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 26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4.6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636 03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84 76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extLst>
                  <a:ext uri="{0D108BD9-81ED-4DB2-BD59-A6C34878D82A}">
                    <a16:rowId xmlns:a16="http://schemas.microsoft.com/office/drawing/2014/main" val="557198705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2-12-01 00:00:0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 21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2.2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145 74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1 71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extLst>
                  <a:ext uri="{0D108BD9-81ED-4DB2-BD59-A6C34878D82A}">
                    <a16:rowId xmlns:a16="http://schemas.microsoft.com/office/drawing/2014/main" val="4021899937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∑ 2022 Jun-Dec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1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8 498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1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 848 941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015 18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extLst>
                  <a:ext uri="{0D108BD9-81ED-4DB2-BD59-A6C34878D82A}">
                    <a16:rowId xmlns:a16="http://schemas.microsoft.com/office/drawing/2014/main" val="1095271965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2C892A95-35D4-BCF1-C3B1-5703F2E4F6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244195"/>
              </p:ext>
            </p:extLst>
          </p:nvPr>
        </p:nvGraphicFramePr>
        <p:xfrm>
          <a:off x="6975079" y="1370985"/>
          <a:ext cx="4750459" cy="21756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75100">
                  <a:extLst>
                    <a:ext uri="{9D8B030D-6E8A-4147-A177-3AD203B41FA5}">
                      <a16:colId xmlns:a16="http://schemas.microsoft.com/office/drawing/2014/main" val="4208061535"/>
                    </a:ext>
                  </a:extLst>
                </a:gridCol>
                <a:gridCol w="864038">
                  <a:extLst>
                    <a:ext uri="{9D8B030D-6E8A-4147-A177-3AD203B41FA5}">
                      <a16:colId xmlns:a16="http://schemas.microsoft.com/office/drawing/2014/main" val="1813623297"/>
                    </a:ext>
                  </a:extLst>
                </a:gridCol>
                <a:gridCol w="1004611">
                  <a:extLst>
                    <a:ext uri="{9D8B030D-6E8A-4147-A177-3AD203B41FA5}">
                      <a16:colId xmlns:a16="http://schemas.microsoft.com/office/drawing/2014/main" val="2851050693"/>
                    </a:ext>
                  </a:extLst>
                </a:gridCol>
                <a:gridCol w="906710">
                  <a:extLst>
                    <a:ext uri="{9D8B030D-6E8A-4147-A177-3AD203B41FA5}">
                      <a16:colId xmlns:a16="http://schemas.microsoft.com/office/drawing/2014/main" val="3246402121"/>
                    </a:ext>
                  </a:extLst>
                </a:gridCol>
              </a:tblGrid>
              <a:tr h="183518"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% market price drop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1057566"/>
                  </a:ext>
                </a:extLst>
              </a:tr>
              <a:tr h="340457"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rketprice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rketvalue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tm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extLst>
                  <a:ext uri="{0D108BD9-81ED-4DB2-BD59-A6C34878D82A}">
                    <a16:rowId xmlns:a16="http://schemas.microsoft.com/office/drawing/2014/main" val="643571425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</a:t>
                      </a:r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/MWh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extLst>
                  <a:ext uri="{0D108BD9-81ED-4DB2-BD59-A6C34878D82A}">
                    <a16:rowId xmlns:a16="http://schemas.microsoft.com/office/drawing/2014/main" val="61567059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2-06-01 00:00:00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3.81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47 947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1 446</a:t>
                      </a: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2294952921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2-07-01 00:00:00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5.07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44 338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5 598</a:t>
                      </a: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4291850567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2-08-01 00:00:00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4.80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2 410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1 975</a:t>
                      </a: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3452750772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2-09-01 00:00:00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5.15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86 685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9 045</a:t>
                      </a: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3434122176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2-10-01 00:00:00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8.57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212 200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7 060</a:t>
                      </a: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4131393579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2-11-01 00:00:00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7.34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18 016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33 248</a:t>
                      </a: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557198705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2-12-01 00:00:0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6.11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72 875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231 161</a:t>
                      </a: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4021899937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∑ 2022 Jun-Dec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 424 471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90 714</a:t>
                      </a: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1095271965"/>
                  </a:ext>
                </a:extLst>
              </a:tr>
            </a:tbl>
          </a:graphicData>
        </a:graphic>
      </p:graphicFrame>
      <p:sp>
        <p:nvSpPr>
          <p:cNvPr id="11" name="Arrow: Right 10">
            <a:extLst>
              <a:ext uri="{FF2B5EF4-FFF2-40B4-BE49-F238E27FC236}">
                <a16:creationId xmlns:a16="http://schemas.microsoft.com/office/drawing/2014/main" id="{A44E4923-10FF-2D76-9800-7CE5B552FA84}"/>
              </a:ext>
            </a:extLst>
          </p:cNvPr>
          <p:cNvSpPr/>
          <p:nvPr/>
        </p:nvSpPr>
        <p:spPr bwMode="gray">
          <a:xfrm>
            <a:off x="6300132" y="2567031"/>
            <a:ext cx="494951" cy="411061"/>
          </a:xfrm>
          <a:prstGeom prst="rightArrow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dirty="0" err="1">
              <a:solidFill>
                <a:sysClr val="windowText" lastClr="000000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213C42B-0AFD-E899-E97D-CECB5DFEC7FE}"/>
              </a:ext>
            </a:extLst>
          </p:cNvPr>
          <p:cNvSpPr txBox="1"/>
          <p:nvPr/>
        </p:nvSpPr>
        <p:spPr>
          <a:xfrm>
            <a:off x="3753681" y="3673629"/>
            <a:ext cx="8007684" cy="31036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de-DE" sz="1100" b="1" dirty="0"/>
              <a:t>50% </a:t>
            </a:r>
            <a:r>
              <a:rPr lang="de-DE" sz="1100" b="1" dirty="0" err="1"/>
              <a:t>drop</a:t>
            </a:r>
            <a:r>
              <a:rPr lang="de-DE" sz="1100" b="1" dirty="0"/>
              <a:t> in </a:t>
            </a:r>
            <a:r>
              <a:rPr lang="de-DE" sz="1100" b="1" dirty="0" err="1"/>
              <a:t>market</a:t>
            </a:r>
            <a:r>
              <a:rPr lang="de-DE" sz="1100" b="1" dirty="0"/>
              <a:t> </a:t>
            </a:r>
            <a:r>
              <a:rPr lang="de-DE" sz="1100" b="1" dirty="0" err="1"/>
              <a:t>prices</a:t>
            </a:r>
            <a:r>
              <a:rPr lang="de-DE" sz="1100" b="1" dirty="0"/>
              <a:t> </a:t>
            </a:r>
            <a:r>
              <a:rPr lang="de-DE" sz="1100" b="1" dirty="0" err="1"/>
              <a:t>leads</a:t>
            </a:r>
            <a:r>
              <a:rPr lang="de-DE" sz="1100" b="1" dirty="0"/>
              <a:t> </a:t>
            </a:r>
            <a:r>
              <a:rPr lang="de-DE" sz="1100" b="1" dirty="0" err="1"/>
              <a:t>to</a:t>
            </a:r>
            <a:r>
              <a:rPr lang="de-DE" sz="1100" b="1" dirty="0"/>
              <a:t> a 4.4 </a:t>
            </a:r>
            <a:r>
              <a:rPr lang="de-DE" sz="1100" b="1" dirty="0" err="1"/>
              <a:t>MEur</a:t>
            </a:r>
            <a:r>
              <a:rPr lang="de-DE" sz="1100" b="1" dirty="0"/>
              <a:t> </a:t>
            </a:r>
            <a:r>
              <a:rPr lang="de-DE" sz="1100" b="1" dirty="0" err="1"/>
              <a:t>drop</a:t>
            </a:r>
            <a:r>
              <a:rPr lang="de-DE" sz="1100" b="1" dirty="0"/>
              <a:t> in </a:t>
            </a:r>
            <a:r>
              <a:rPr lang="de-DE" sz="1100" b="1" dirty="0" err="1"/>
              <a:t>market</a:t>
            </a:r>
            <a:r>
              <a:rPr lang="de-DE" sz="1100" b="1" dirty="0"/>
              <a:t> </a:t>
            </a:r>
            <a:r>
              <a:rPr lang="de-DE" sz="1100" b="1" dirty="0" err="1"/>
              <a:t>value</a:t>
            </a:r>
            <a:r>
              <a:rPr lang="de-DE" sz="1100" b="1" dirty="0"/>
              <a:t>. MtM </a:t>
            </a:r>
            <a:r>
              <a:rPr lang="de-DE" sz="1100" b="1" dirty="0" err="1"/>
              <a:t>drops</a:t>
            </a:r>
            <a:r>
              <a:rPr lang="de-DE" sz="1100" b="1" dirty="0"/>
              <a:t> </a:t>
            </a:r>
            <a:r>
              <a:rPr lang="de-DE" sz="1100" b="1" dirty="0" err="1"/>
              <a:t>from</a:t>
            </a:r>
            <a:r>
              <a:rPr lang="de-DE" sz="1100" b="1" dirty="0"/>
              <a:t> +5.0 </a:t>
            </a:r>
            <a:r>
              <a:rPr lang="de-DE" sz="1100" b="1" dirty="0" err="1"/>
              <a:t>MEur</a:t>
            </a:r>
            <a:r>
              <a:rPr lang="de-DE" sz="1100" b="1" dirty="0"/>
              <a:t> </a:t>
            </a:r>
            <a:r>
              <a:rPr lang="de-DE" sz="1100" b="1" dirty="0" err="1"/>
              <a:t>to</a:t>
            </a:r>
            <a:r>
              <a:rPr lang="de-DE" sz="1100" b="1" dirty="0"/>
              <a:t> +0.6 </a:t>
            </a:r>
            <a:r>
              <a:rPr lang="de-DE" sz="1100" b="1" dirty="0" err="1"/>
              <a:t>MEur</a:t>
            </a:r>
            <a:endParaRPr lang="de-DE" sz="1100" b="1" dirty="0"/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61A67789-7869-5848-0F8F-241D8E0443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2655086"/>
              </p:ext>
            </p:extLst>
          </p:nvPr>
        </p:nvGraphicFramePr>
        <p:xfrm>
          <a:off x="305266" y="4081316"/>
          <a:ext cx="5743895" cy="14415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75100">
                  <a:extLst>
                    <a:ext uri="{9D8B030D-6E8A-4147-A177-3AD203B41FA5}">
                      <a16:colId xmlns:a16="http://schemas.microsoft.com/office/drawing/2014/main" val="4208061535"/>
                    </a:ext>
                  </a:extLst>
                </a:gridCol>
                <a:gridCol w="301646">
                  <a:extLst>
                    <a:ext uri="{9D8B030D-6E8A-4147-A177-3AD203B41FA5}">
                      <a16:colId xmlns:a16="http://schemas.microsoft.com/office/drawing/2014/main" val="2807012865"/>
                    </a:ext>
                  </a:extLst>
                </a:gridCol>
                <a:gridCol w="691790">
                  <a:extLst>
                    <a:ext uri="{9D8B030D-6E8A-4147-A177-3AD203B41FA5}">
                      <a16:colId xmlns:a16="http://schemas.microsoft.com/office/drawing/2014/main" val="3032315393"/>
                    </a:ext>
                  </a:extLst>
                </a:gridCol>
                <a:gridCol w="864038">
                  <a:extLst>
                    <a:ext uri="{9D8B030D-6E8A-4147-A177-3AD203B41FA5}">
                      <a16:colId xmlns:a16="http://schemas.microsoft.com/office/drawing/2014/main" val="1813623297"/>
                    </a:ext>
                  </a:extLst>
                </a:gridCol>
                <a:gridCol w="1004611">
                  <a:extLst>
                    <a:ext uri="{9D8B030D-6E8A-4147-A177-3AD203B41FA5}">
                      <a16:colId xmlns:a16="http://schemas.microsoft.com/office/drawing/2014/main" val="2851050693"/>
                    </a:ext>
                  </a:extLst>
                </a:gridCol>
                <a:gridCol w="906710">
                  <a:extLst>
                    <a:ext uri="{9D8B030D-6E8A-4147-A177-3AD203B41FA5}">
                      <a16:colId xmlns:a16="http://schemas.microsoft.com/office/drawing/2014/main" val="3246402121"/>
                    </a:ext>
                  </a:extLst>
                </a:gridCol>
              </a:tblGrid>
              <a:tr h="183518"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pen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urrent valu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1057566"/>
                  </a:ext>
                </a:extLst>
              </a:tr>
              <a:tr h="340457"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um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rketprice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rketvalue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tm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extLst>
                  <a:ext uri="{0D108BD9-81ED-4DB2-BD59-A6C34878D82A}">
                    <a16:rowId xmlns:a16="http://schemas.microsoft.com/office/drawing/2014/main" val="643571425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Wh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</a:t>
                      </a:r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/MWh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extLst>
                  <a:ext uri="{0D108BD9-81ED-4DB2-BD59-A6C34878D82A}">
                    <a16:rowId xmlns:a16="http://schemas.microsoft.com/office/drawing/2014/main" val="61567059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 694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019 307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65 658</a:t>
                      </a: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2294952921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525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75 711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1 019</a:t>
                      </a: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4291850567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263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2 559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8 208</a:t>
                      </a: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3452750772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∑ 2023-202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482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457 576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854 885</a:t>
                      </a: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1095271965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BF1AD0FF-FF2A-1E54-9CAB-D753EC0F38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690102"/>
              </p:ext>
            </p:extLst>
          </p:nvPr>
        </p:nvGraphicFramePr>
        <p:xfrm>
          <a:off x="6975079" y="4070407"/>
          <a:ext cx="4750459" cy="14415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75100">
                  <a:extLst>
                    <a:ext uri="{9D8B030D-6E8A-4147-A177-3AD203B41FA5}">
                      <a16:colId xmlns:a16="http://schemas.microsoft.com/office/drawing/2014/main" val="4208061535"/>
                    </a:ext>
                  </a:extLst>
                </a:gridCol>
                <a:gridCol w="864038">
                  <a:extLst>
                    <a:ext uri="{9D8B030D-6E8A-4147-A177-3AD203B41FA5}">
                      <a16:colId xmlns:a16="http://schemas.microsoft.com/office/drawing/2014/main" val="1813623297"/>
                    </a:ext>
                  </a:extLst>
                </a:gridCol>
                <a:gridCol w="1004611">
                  <a:extLst>
                    <a:ext uri="{9D8B030D-6E8A-4147-A177-3AD203B41FA5}">
                      <a16:colId xmlns:a16="http://schemas.microsoft.com/office/drawing/2014/main" val="2851050693"/>
                    </a:ext>
                  </a:extLst>
                </a:gridCol>
                <a:gridCol w="906710">
                  <a:extLst>
                    <a:ext uri="{9D8B030D-6E8A-4147-A177-3AD203B41FA5}">
                      <a16:colId xmlns:a16="http://schemas.microsoft.com/office/drawing/2014/main" val="3246402121"/>
                    </a:ext>
                  </a:extLst>
                </a:gridCol>
              </a:tblGrid>
              <a:tr h="183518"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% market price drop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1057566"/>
                  </a:ext>
                </a:extLst>
              </a:tr>
              <a:tr h="340457"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rketprice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rketvalue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tm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extLst>
                  <a:ext uri="{0D108BD9-81ED-4DB2-BD59-A6C34878D82A}">
                    <a16:rowId xmlns:a16="http://schemas.microsoft.com/office/drawing/2014/main" val="643571425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</a:t>
                      </a:r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/MWh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extLst>
                  <a:ext uri="{0D108BD9-81ED-4DB2-BD59-A6C34878D82A}">
                    <a16:rowId xmlns:a16="http://schemas.microsoft.com/office/drawing/2014/main" val="61567059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9 653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6 005</a:t>
                      </a: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2294952921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7 855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 163</a:t>
                      </a: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4291850567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r" fontAlgn="t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 280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 479</a:t>
                      </a: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3452750772"/>
                  </a:ext>
                </a:extLst>
              </a:tr>
              <a:tr h="1835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∑ 2023-202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28" marR="6328" marT="6328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28 788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3 648</a:t>
                      </a: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1095271965"/>
                  </a:ext>
                </a:extLst>
              </a:tr>
            </a:tbl>
          </a:graphicData>
        </a:graphic>
      </p:graphicFrame>
      <p:sp>
        <p:nvSpPr>
          <p:cNvPr id="17" name="Arrow: Right 16">
            <a:extLst>
              <a:ext uri="{FF2B5EF4-FFF2-40B4-BE49-F238E27FC236}">
                <a16:creationId xmlns:a16="http://schemas.microsoft.com/office/drawing/2014/main" id="{49ABC6C2-196E-9338-210A-AB7B55683A4B}"/>
              </a:ext>
            </a:extLst>
          </p:cNvPr>
          <p:cNvSpPr/>
          <p:nvPr/>
        </p:nvSpPr>
        <p:spPr bwMode="gray">
          <a:xfrm>
            <a:off x="6300132" y="4791189"/>
            <a:ext cx="494951" cy="411061"/>
          </a:xfrm>
          <a:prstGeom prst="rightArrow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dirty="0" err="1">
              <a:solidFill>
                <a:sysClr val="windowText" lastClr="000000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9392E13-2F8E-AA26-840E-D1A0561D9618}"/>
              </a:ext>
            </a:extLst>
          </p:cNvPr>
          <p:cNvSpPr txBox="1"/>
          <p:nvPr/>
        </p:nvSpPr>
        <p:spPr>
          <a:xfrm>
            <a:off x="3753681" y="5791849"/>
            <a:ext cx="8007684" cy="31036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de-DE" sz="1100" b="1" dirty="0"/>
              <a:t>50% </a:t>
            </a:r>
            <a:r>
              <a:rPr lang="de-DE" sz="1100" b="1" dirty="0" err="1"/>
              <a:t>drop</a:t>
            </a:r>
            <a:r>
              <a:rPr lang="de-DE" sz="1100" b="1" dirty="0"/>
              <a:t> in </a:t>
            </a:r>
            <a:r>
              <a:rPr lang="de-DE" sz="1100" b="1" dirty="0" err="1"/>
              <a:t>market</a:t>
            </a:r>
            <a:r>
              <a:rPr lang="de-DE" sz="1100" b="1" dirty="0"/>
              <a:t> </a:t>
            </a:r>
            <a:r>
              <a:rPr lang="de-DE" sz="1100" b="1" dirty="0" err="1"/>
              <a:t>prices</a:t>
            </a:r>
            <a:r>
              <a:rPr lang="de-DE" sz="1100" b="1" dirty="0"/>
              <a:t> </a:t>
            </a:r>
            <a:r>
              <a:rPr lang="de-DE" sz="1100" b="1" dirty="0" err="1"/>
              <a:t>leads</a:t>
            </a:r>
            <a:r>
              <a:rPr lang="de-DE" sz="1100" b="1" dirty="0"/>
              <a:t> </a:t>
            </a:r>
            <a:r>
              <a:rPr lang="de-DE" sz="1100" b="1" dirty="0" err="1"/>
              <a:t>to</a:t>
            </a:r>
            <a:r>
              <a:rPr lang="de-DE" sz="1100" b="1" dirty="0"/>
              <a:t> a 6.7 </a:t>
            </a:r>
            <a:r>
              <a:rPr lang="de-DE" sz="1100" b="1" dirty="0" err="1"/>
              <a:t>MEur</a:t>
            </a:r>
            <a:r>
              <a:rPr lang="de-DE" sz="1100" b="1" dirty="0"/>
              <a:t> </a:t>
            </a:r>
            <a:r>
              <a:rPr lang="de-DE" sz="1100" b="1" dirty="0" err="1"/>
              <a:t>drop</a:t>
            </a:r>
            <a:r>
              <a:rPr lang="de-DE" sz="1100" b="1" dirty="0"/>
              <a:t> in </a:t>
            </a:r>
            <a:r>
              <a:rPr lang="de-DE" sz="1100" b="1" dirty="0" err="1"/>
              <a:t>market</a:t>
            </a:r>
            <a:r>
              <a:rPr lang="de-DE" sz="1100" b="1" dirty="0"/>
              <a:t> </a:t>
            </a:r>
            <a:r>
              <a:rPr lang="de-DE" sz="1100" b="1" dirty="0" err="1"/>
              <a:t>value</a:t>
            </a:r>
            <a:r>
              <a:rPr lang="de-DE" sz="1100" b="1" dirty="0"/>
              <a:t>. MtM </a:t>
            </a:r>
            <a:r>
              <a:rPr lang="de-DE" sz="1100" b="1" dirty="0" err="1"/>
              <a:t>drops</a:t>
            </a:r>
            <a:r>
              <a:rPr lang="de-DE" sz="1100" b="1" dirty="0"/>
              <a:t> </a:t>
            </a:r>
            <a:r>
              <a:rPr lang="de-DE" sz="1100" b="1" dirty="0" err="1"/>
              <a:t>from</a:t>
            </a:r>
            <a:r>
              <a:rPr lang="de-DE" sz="1100" b="1" dirty="0"/>
              <a:t> +7.8 </a:t>
            </a:r>
            <a:r>
              <a:rPr lang="de-DE" sz="1100" b="1" dirty="0" err="1"/>
              <a:t>MEur</a:t>
            </a:r>
            <a:r>
              <a:rPr lang="de-DE" sz="1100" b="1" dirty="0"/>
              <a:t> </a:t>
            </a:r>
            <a:r>
              <a:rPr lang="de-DE" sz="1100" b="1" dirty="0" err="1"/>
              <a:t>to</a:t>
            </a:r>
            <a:r>
              <a:rPr lang="de-DE" sz="1100" b="1" dirty="0"/>
              <a:t> +1.1 </a:t>
            </a:r>
            <a:r>
              <a:rPr lang="de-DE" sz="1100" b="1" dirty="0" err="1"/>
              <a:t>MEur</a:t>
            </a:r>
            <a:endParaRPr lang="de-DE" sz="1100" b="1" dirty="0"/>
          </a:p>
        </p:txBody>
      </p:sp>
    </p:spTree>
    <p:extLst>
      <p:ext uri="{BB962C8B-B14F-4D97-AF65-F5344CB8AC3E}">
        <p14:creationId xmlns:p14="http://schemas.microsoft.com/office/powerpoint/2010/main" val="3954551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9C5FBF6-7B6A-4A6A-942C-843C303E26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tails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40681C-2B6B-4BF3-8156-1F255F4BC94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0FAA99-976A-4C16-AEC0-4CCD014D206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3A9ED34-E645-4E2F-8CDC-B603C25EBB9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de-DE" b="1" dirty="0">
                <a:solidFill>
                  <a:schemeClr val="accent1"/>
                </a:solidFill>
              </a:rPr>
              <a:t>2022 ROY</a:t>
            </a:r>
            <a:endParaRPr lang="en-US" b="1" dirty="0">
              <a:solidFill>
                <a:schemeClr val="accent1"/>
              </a:solidFill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0F8EEAB-8BF8-F721-D5AD-F9F1E507A9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4226884"/>
              </p:ext>
            </p:extLst>
          </p:nvPr>
        </p:nvGraphicFramePr>
        <p:xfrm>
          <a:off x="1542409" y="977967"/>
          <a:ext cx="9166135" cy="514098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86749">
                  <a:extLst>
                    <a:ext uri="{9D8B030D-6E8A-4147-A177-3AD203B41FA5}">
                      <a16:colId xmlns:a16="http://schemas.microsoft.com/office/drawing/2014/main" val="2698464300"/>
                    </a:ext>
                  </a:extLst>
                </a:gridCol>
                <a:gridCol w="1640574">
                  <a:extLst>
                    <a:ext uri="{9D8B030D-6E8A-4147-A177-3AD203B41FA5}">
                      <a16:colId xmlns:a16="http://schemas.microsoft.com/office/drawing/2014/main" val="541765638"/>
                    </a:ext>
                  </a:extLst>
                </a:gridCol>
                <a:gridCol w="737504">
                  <a:extLst>
                    <a:ext uri="{9D8B030D-6E8A-4147-A177-3AD203B41FA5}">
                      <a16:colId xmlns:a16="http://schemas.microsoft.com/office/drawing/2014/main" val="4137848546"/>
                    </a:ext>
                  </a:extLst>
                </a:gridCol>
                <a:gridCol w="737504">
                  <a:extLst>
                    <a:ext uri="{9D8B030D-6E8A-4147-A177-3AD203B41FA5}">
                      <a16:colId xmlns:a16="http://schemas.microsoft.com/office/drawing/2014/main" val="2998447180"/>
                    </a:ext>
                  </a:extLst>
                </a:gridCol>
                <a:gridCol w="737504">
                  <a:extLst>
                    <a:ext uri="{9D8B030D-6E8A-4147-A177-3AD203B41FA5}">
                      <a16:colId xmlns:a16="http://schemas.microsoft.com/office/drawing/2014/main" val="2018053619"/>
                    </a:ext>
                  </a:extLst>
                </a:gridCol>
                <a:gridCol w="714928">
                  <a:extLst>
                    <a:ext uri="{9D8B030D-6E8A-4147-A177-3AD203B41FA5}">
                      <a16:colId xmlns:a16="http://schemas.microsoft.com/office/drawing/2014/main" val="2755117536"/>
                    </a:ext>
                  </a:extLst>
                </a:gridCol>
                <a:gridCol w="624621">
                  <a:extLst>
                    <a:ext uri="{9D8B030D-6E8A-4147-A177-3AD203B41FA5}">
                      <a16:colId xmlns:a16="http://schemas.microsoft.com/office/drawing/2014/main" val="3576567988"/>
                    </a:ext>
                  </a:extLst>
                </a:gridCol>
                <a:gridCol w="729980">
                  <a:extLst>
                    <a:ext uri="{9D8B030D-6E8A-4147-A177-3AD203B41FA5}">
                      <a16:colId xmlns:a16="http://schemas.microsoft.com/office/drawing/2014/main" val="4163806938"/>
                    </a:ext>
                  </a:extLst>
                </a:gridCol>
                <a:gridCol w="677302">
                  <a:extLst>
                    <a:ext uri="{9D8B030D-6E8A-4147-A177-3AD203B41FA5}">
                      <a16:colId xmlns:a16="http://schemas.microsoft.com/office/drawing/2014/main" val="2145340379"/>
                    </a:ext>
                  </a:extLst>
                </a:gridCol>
                <a:gridCol w="579469">
                  <a:extLst>
                    <a:ext uri="{9D8B030D-6E8A-4147-A177-3AD203B41FA5}">
                      <a16:colId xmlns:a16="http://schemas.microsoft.com/office/drawing/2014/main" val="2792731130"/>
                    </a:ext>
                  </a:extLst>
                </a:gridCol>
              </a:tblGrid>
              <a:tr h="99915"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 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open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sourced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now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fut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404040"/>
                  </a:ext>
                </a:extLst>
              </a:tr>
              <a:tr h="185360"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 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q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price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marketprice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marketvalue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mtm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marketprice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marketvalue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mtm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2094184887"/>
                  </a:ext>
                </a:extLst>
              </a:tr>
              <a:tr h="99915"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unit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MWh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Eur/MWh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Eur/MWh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Eur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Eur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Eur/MWh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Eur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Eur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1110803686"/>
                  </a:ext>
                </a:extLst>
              </a:tr>
              <a:tr h="99915">
                <a:tc rowSpan="6"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2-06-01 00:00:00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BTB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3.2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7.6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7 18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6 19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3.8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8 59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7 6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864929418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CONTI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 44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1.7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7.6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71 00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96 2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3.8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85 5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0 69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3762815605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RLM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6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8.3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7.6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7 26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 1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3.8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8 63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 48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563385374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LEGACY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78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8.7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7.6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92 17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58 74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3.8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6 08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2 65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853548364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NEW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 88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6.9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7.6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18 26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97 13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3.8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09 13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1 99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1837037737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∑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 18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7.6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095 89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39 39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3.8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47 94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91 44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2642009835"/>
                  </a:ext>
                </a:extLst>
              </a:tr>
              <a:tr h="99915">
                <a:tc rowSpan="6"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2-07-01 00:00:00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BTB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3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4.0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0.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9 82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4 55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5.0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4 91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9 64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1160426561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CONTI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 78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2.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0.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06 24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45 02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5.0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53 1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1 9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2300629928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RLM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9.4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0.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 37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 7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5.0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 68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04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3746506430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LEGACY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 9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7.3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0.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20 55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69 94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5.0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60 27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9 66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450157535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NEW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 49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9.8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0.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84 68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75 68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5.0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92 34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6 65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2206615964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∑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 88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0.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088 67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49 93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5.0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44 33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05 59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3986536975"/>
                  </a:ext>
                </a:extLst>
              </a:tr>
              <a:tr h="99915">
                <a:tc rowSpan="6"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2-08-01 00:00:00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BTB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1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4.3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9.6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4 7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7 00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4.8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7 35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 65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3287549503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CONTI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6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1.8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9.6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76 43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41 3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4.8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88 2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3 1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2515513733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RLM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9.3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9.6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6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8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4.8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8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3013948128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LEGACY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78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9.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9.6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95 72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61 78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4.8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7 86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3 9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2497299869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NEW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 52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0.6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9.6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77 19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23 79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4.8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38 59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4 8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3406062364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∑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 24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9.6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84 82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54 38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4.8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42 4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1 97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715603995"/>
                  </a:ext>
                </a:extLst>
              </a:tr>
              <a:tr h="99915">
                <a:tc rowSpan="6"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2-09-01 00:00:00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BTB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1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3.3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0.3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5 02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7 61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5.1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7 5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 10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244357994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CONTI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93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2.4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0.3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13 79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70 34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5.1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6 89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3 44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3498349998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RLM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2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8.9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0.3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30 16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9 52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5.1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5 08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4 44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197324227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LEGACY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02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2.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0.3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3 42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0 54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5.1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6 7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3 8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4233520037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NEW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 0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3.6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0.3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41 29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86 75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5.1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20 64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33 89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1452014186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∑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 0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0.3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73 37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55 7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5.1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86 68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9 04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1137797366"/>
                  </a:ext>
                </a:extLst>
              </a:tr>
              <a:tr h="99915">
                <a:tc rowSpan="6"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2-10-01 00:00:00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BTB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13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2.5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7.1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32 5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7 03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8.5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6 25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0 78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2738750850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CONTI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 24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2.3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7.1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14 1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96 94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8.5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07 05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89 89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3277910633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RLM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36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6.3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7.1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42 5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29 32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8.5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21 25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8 07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1343012652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LEGACY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 27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3.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7.1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18 28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43 2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8.5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09 14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34 12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3982118181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NEW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 40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7.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7.1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102 0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71 33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8.5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51 0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79 67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747911278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∑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0 69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7.1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 424 39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489 25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8.5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212 2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77 06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1571036178"/>
                  </a:ext>
                </a:extLst>
              </a:tr>
              <a:tr h="99915">
                <a:tc rowSpan="6"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2-11-01 00:00:00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BTB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2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2.8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4.6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25 82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20 69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7.3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2 9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7 77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177174786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CONTI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 39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2.8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4.6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74 7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19 96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7.3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37 38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82 57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4109778774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RLM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53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5.3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4.6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60 85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42 07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7.3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30 42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1 64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1799260017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LEGACY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15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6.7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4.6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32 76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0 2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7.3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6 38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3 82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3996053032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NEW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 46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7.8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4.6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315 17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37 36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7.3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57 58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20 22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2406119597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∑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4 26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4.6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636 03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84 76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7.3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818 0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33 24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2056769259"/>
                  </a:ext>
                </a:extLst>
              </a:tr>
              <a:tr h="99915">
                <a:tc rowSpan="6"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2-12-01 00:00:00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BTB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 1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2.8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2.2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23 76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98 54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6.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61 88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36 66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184675335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CONTI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32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2.9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2.2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36 6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29 13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6.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8 30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0 82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3672912526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RLM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57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5.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2.2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64 14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44 10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6.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32 0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2 03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1051881576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LEGACY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57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4.6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2.2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64 89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39 09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6.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32 44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6 64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202355138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NEW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2 79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9.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2.2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435 16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52 59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6.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17 58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64 99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1249645297"/>
                  </a:ext>
                </a:extLst>
              </a:tr>
              <a:tr h="999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∑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 2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2.2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145 74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41 7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6.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72 87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231 16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387938507"/>
                  </a:ext>
                </a:extLst>
              </a:tr>
              <a:tr h="99915"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2 Jun-Dec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∑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8 49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8 848 94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 015 18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 424 47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 dirty="0">
                          <a:effectLst/>
                        </a:rPr>
                        <a:t>590 71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45" marR="3445" marT="3445" marB="0"/>
                </a:tc>
                <a:extLst>
                  <a:ext uri="{0D108BD9-81ED-4DB2-BD59-A6C34878D82A}">
                    <a16:rowId xmlns:a16="http://schemas.microsoft.com/office/drawing/2014/main" val="3775654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888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D65F31-8B31-0AB3-70C0-4C240E98C4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B1DAFB-7829-54C4-A8D6-F75151612D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tails	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72E5D8-8979-CC7A-9EE7-C6012254003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as positions</a:t>
            </a:r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CA868C-17BD-8094-61A5-3E3801ECED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DB15C57-79C3-4FC8-BD27-90EA32E38989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54212D93-9BE1-7D58-97BD-8EE06B8802D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2023-2026</a:t>
            </a:r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BFCC0869-E12A-CCE8-C942-7901159C13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4621475"/>
              </p:ext>
            </p:extLst>
          </p:nvPr>
        </p:nvGraphicFramePr>
        <p:xfrm>
          <a:off x="1576476" y="628121"/>
          <a:ext cx="9270491" cy="611122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66572">
                  <a:extLst>
                    <a:ext uri="{9D8B030D-6E8A-4147-A177-3AD203B41FA5}">
                      <a16:colId xmlns:a16="http://schemas.microsoft.com/office/drawing/2014/main" val="1431557626"/>
                    </a:ext>
                  </a:extLst>
                </a:gridCol>
                <a:gridCol w="1293953">
                  <a:extLst>
                    <a:ext uri="{9D8B030D-6E8A-4147-A177-3AD203B41FA5}">
                      <a16:colId xmlns:a16="http://schemas.microsoft.com/office/drawing/2014/main" val="2410322094"/>
                    </a:ext>
                  </a:extLst>
                </a:gridCol>
                <a:gridCol w="834259">
                  <a:extLst>
                    <a:ext uri="{9D8B030D-6E8A-4147-A177-3AD203B41FA5}">
                      <a16:colId xmlns:a16="http://schemas.microsoft.com/office/drawing/2014/main" val="442784826"/>
                    </a:ext>
                  </a:extLst>
                </a:gridCol>
                <a:gridCol w="834259">
                  <a:extLst>
                    <a:ext uri="{9D8B030D-6E8A-4147-A177-3AD203B41FA5}">
                      <a16:colId xmlns:a16="http://schemas.microsoft.com/office/drawing/2014/main" val="2078883072"/>
                    </a:ext>
                  </a:extLst>
                </a:gridCol>
                <a:gridCol w="553335">
                  <a:extLst>
                    <a:ext uri="{9D8B030D-6E8A-4147-A177-3AD203B41FA5}">
                      <a16:colId xmlns:a16="http://schemas.microsoft.com/office/drawing/2014/main" val="1322184503"/>
                    </a:ext>
                  </a:extLst>
                </a:gridCol>
                <a:gridCol w="766157">
                  <a:extLst>
                    <a:ext uri="{9D8B030D-6E8A-4147-A177-3AD203B41FA5}">
                      <a16:colId xmlns:a16="http://schemas.microsoft.com/office/drawing/2014/main" val="1151037949"/>
                    </a:ext>
                  </a:extLst>
                </a:gridCol>
                <a:gridCol w="706566">
                  <a:extLst>
                    <a:ext uri="{9D8B030D-6E8A-4147-A177-3AD203B41FA5}">
                      <a16:colId xmlns:a16="http://schemas.microsoft.com/office/drawing/2014/main" val="374764673"/>
                    </a:ext>
                  </a:extLst>
                </a:gridCol>
                <a:gridCol w="553335">
                  <a:extLst>
                    <a:ext uri="{9D8B030D-6E8A-4147-A177-3AD203B41FA5}">
                      <a16:colId xmlns:a16="http://schemas.microsoft.com/office/drawing/2014/main" val="192710491"/>
                    </a:ext>
                  </a:extLst>
                </a:gridCol>
                <a:gridCol w="706566">
                  <a:extLst>
                    <a:ext uri="{9D8B030D-6E8A-4147-A177-3AD203B41FA5}">
                      <a16:colId xmlns:a16="http://schemas.microsoft.com/office/drawing/2014/main" val="1008889257"/>
                    </a:ext>
                  </a:extLst>
                </a:gridCol>
                <a:gridCol w="655489">
                  <a:extLst>
                    <a:ext uri="{9D8B030D-6E8A-4147-A177-3AD203B41FA5}">
                      <a16:colId xmlns:a16="http://schemas.microsoft.com/office/drawing/2014/main" val="749151496"/>
                    </a:ext>
                  </a:extLst>
                </a:gridCol>
              </a:tblGrid>
              <a:tr h="82552"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 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open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sourced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now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fut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9067421"/>
                  </a:ext>
                </a:extLst>
              </a:tr>
              <a:tr h="153148"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 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q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price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marketprice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marketvalue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mtm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marketprice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marketvalue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mtm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55629549"/>
                  </a:ext>
                </a:extLst>
              </a:tr>
              <a:tr h="153148"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unit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MWh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Eur/MWh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Eur/MWh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Eur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Eur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Eur/MWh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Eur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Eur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2300503590"/>
                  </a:ext>
                </a:extLst>
              </a:tr>
              <a:tr h="82552">
                <a:tc rowSpan="4"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3-01-01 00:00:00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BTB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6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3.5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5.3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8 94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5 79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2.6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9 47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6 32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152983591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CONTI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8 13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6.1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3.2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20 83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07 96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6.6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60 41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47 54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571595018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RLM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43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3.6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3.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49 71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39 39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6.8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24 85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4 53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899026799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NEW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3 52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7.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3.8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 953 18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 036 62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6.9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 476 59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439 96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3188575443"/>
                  </a:ext>
                </a:extLst>
              </a:tr>
              <a:tr h="82552">
                <a:tc rowSpan="4"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3-04-01 00:00:00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BTB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 46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2.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2.8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28 99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74 25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6.4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4 49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9 75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3674849128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CONTI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8 85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1.8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3.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825 1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31 24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6.5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12 55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18 68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3601542309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RLM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4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8.1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2.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1 08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2 99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6.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0 54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2 45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3572888866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NEW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2 11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9.8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3.8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136 99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54 28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6.9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68 49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85 78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3106797175"/>
                  </a:ext>
                </a:extLst>
              </a:tr>
              <a:tr h="82552">
                <a:tc rowSpan="4"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3-07-01 00:00:00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BTB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07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3.3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0.2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7 2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2 15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5.1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8 63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3 51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2777810984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CONTI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 33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1.3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0.2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91 46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98 99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5.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95 7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3 26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4083293097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RLM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7.2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88.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74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4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4.0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8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3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2614909172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NEW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 1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2.8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0.2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82 04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79 3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5.1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41 02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8 28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2939644899"/>
                  </a:ext>
                </a:extLst>
              </a:tr>
              <a:tr h="82552">
                <a:tc rowSpan="4"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3-10-01 00:00:00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BTB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8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1.5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5.3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7 3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3 4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7.6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8 66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4 74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4286547174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CONTI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 37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1.9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0.5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86 3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68 42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5.2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43 18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25 23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624406250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RLM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78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0.0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0.9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71 44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55 66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5.4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35 7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9 94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2563543731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NEW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8 07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2.5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0.9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33 74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70 67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5.4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66 87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3 8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3908247150"/>
                  </a:ext>
                </a:extLst>
              </a:tr>
              <a:tr h="82552"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3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∑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6 69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 019 30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 565 65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 009 65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56 0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3854679788"/>
                  </a:ext>
                </a:extLst>
              </a:tr>
              <a:tr h="82552">
                <a:tc rowSpan="4"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4-01-01 00:00:00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BTB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4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8.3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6.0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9 22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7 32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8.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4 6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2 7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569081069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CONTI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 3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3.3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87.2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50 14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03 02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3.6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75 07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27 95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1120443611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RLM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4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7.8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2.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4 15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3 35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6.1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2 07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 27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2590366027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NEW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 68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5.6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88.2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854 90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09 36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4.1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27 45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81 91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2988979641"/>
                  </a:ext>
                </a:extLst>
              </a:tr>
              <a:tr h="82552">
                <a:tc rowSpan="4"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4-04-01 00:00:00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BTB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 4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8.0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9.5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67 18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23 73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4.7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83 59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0 14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864567000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CONTI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 6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0.6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9.6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59 96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23 66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4.8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29 98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3 67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1877810052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RLM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9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5.4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9.1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4 2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6 58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4.5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7 1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 48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3244915574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NEW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94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1.4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0.2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36 8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5 49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5.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8 4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 09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2754286634"/>
                  </a:ext>
                </a:extLst>
              </a:tr>
              <a:tr h="82552">
                <a:tc rowSpan="4"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4-07-01 00:00:00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BTB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5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0.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7.3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0 83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5 55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3.7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5 4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 14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1442735244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CONTI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 70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0.1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7.3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82 46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27 84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3.6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1 23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6 61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1876136250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RLM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4.9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7.4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 57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 56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3.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 28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27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3784539539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NEW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9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4.8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7.3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0 04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3 38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3.6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0 0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6 64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2678032752"/>
                  </a:ext>
                </a:extLst>
              </a:tr>
              <a:tr h="82552">
                <a:tc rowSpan="4"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4-10-01 00:00:00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BTB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76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8.1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5.7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58 09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44 17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7.8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29 04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5 13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497729737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CONTI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 44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1.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4.5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56 5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84 28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7.2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28 26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6 0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3194032507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RLM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39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6.5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4.8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29 52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23 02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7.4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4 76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8 25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497023262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NEW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07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8.3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4.8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80 60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7 74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7.4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0 3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22 56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1097707708"/>
                  </a:ext>
                </a:extLst>
              </a:tr>
              <a:tr h="82552"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4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∑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5 5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 775 7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811 01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387 85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23 16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2005762527"/>
                  </a:ext>
                </a:extLst>
              </a:tr>
              <a:tr h="82552">
                <a:tc rowSpan="4"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5-01-01 00:00:00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BTB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1.8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3.2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 86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69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6.6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43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5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223327525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CONTI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 35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3.4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7.9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52 03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49 89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8.9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26 01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3 88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3867289974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RLM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23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7.9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8.3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3 87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9 61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9.1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6 94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2 67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1009925384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NEW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 54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8.9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8.2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90 0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06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9.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45 0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6 0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2551682093"/>
                  </a:ext>
                </a:extLst>
              </a:tr>
              <a:tr h="82552">
                <a:tc rowSpan="4"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5-04-01 00:00:00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BTB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4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9.0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7.8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1 68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1 23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8.9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5 84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 39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781163031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CONTI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 59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0.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8.0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08 4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34 04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9.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4 23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9 80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3471893197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RLM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6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6.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7.4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5 16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0 93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8.7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 58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 35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1226758417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NEW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8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8.9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4 89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9.4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2 44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3809809257"/>
                  </a:ext>
                </a:extLst>
              </a:tr>
              <a:tr h="82552">
                <a:tc rowSpan="4"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5-07-01 00:00:00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BTB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8.4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4.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 03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 28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7.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 51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76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1016589120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CONTI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58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9.9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4.2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86 04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54 39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7.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3 02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 37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609992351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RLM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5.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5.2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3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2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2.6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2518291242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NEW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2040476091"/>
                  </a:ext>
                </a:extLst>
              </a:tr>
              <a:tr h="82552">
                <a:tc rowSpan="4"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5-10-01 00:00:00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BTB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0.1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3.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 9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 65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1.5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 95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2676260072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CONTI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 87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21.7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4.7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86 14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23 56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2.4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93 07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0 48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1394489481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B_RLM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40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7.6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4.9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25 95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8 91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2.4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12 97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-5 93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3629025038"/>
                  </a:ext>
                </a:extLst>
              </a:tr>
              <a:tr h="825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B2C_NEW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766298303"/>
                  </a:ext>
                </a:extLst>
              </a:tr>
              <a:tr h="82552"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5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∑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1 26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62 55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478 20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331 28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44 47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306188420"/>
                  </a:ext>
                </a:extLst>
              </a:tr>
              <a:tr h="82552"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2023-2025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700" u="none" strike="noStrike">
                          <a:effectLst/>
                        </a:rPr>
                        <a:t>∑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43 48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13 457 57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7 854 88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>
                          <a:effectLst/>
                        </a:rPr>
                        <a:t>6 728 78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700" u="none" strike="noStrike" dirty="0">
                          <a:effectLst/>
                        </a:rPr>
                        <a:t>1 123 64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47" marR="2847" marT="2847" marB="0"/>
                </a:tc>
                <a:extLst>
                  <a:ext uri="{0D108BD9-81ED-4DB2-BD59-A6C34878D82A}">
                    <a16:rowId xmlns:a16="http://schemas.microsoft.com/office/drawing/2014/main" val="6472244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8517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_G1w0KT4iO0hHm9COje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IGNEDEDITOR" val="#Re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_G1w0KT4iO0hHm9COj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RpIhA7f6P9idz7RHUs7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RpIhA7f6P9idz7RHUs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oke_LichtBlick_Template_2020">
  <a:themeElements>
    <a:clrScheme name="Smoke_LichtBlick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465B68"/>
      </a:accent1>
      <a:accent2>
        <a:srgbClr val="313C49"/>
      </a:accent2>
      <a:accent3>
        <a:srgbClr val="7390A1"/>
      </a:accent3>
      <a:accent4>
        <a:srgbClr val="F1F4F6"/>
      </a:accent4>
      <a:accent5>
        <a:srgbClr val="E6E6E6"/>
      </a:accent5>
      <a:accent6>
        <a:srgbClr val="B2B2B2"/>
      </a:accent6>
      <a:hlink>
        <a:srgbClr val="E6E6E6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044C27C9-68D0-4512-BF2A-9E6368743E68}"/>
    </a:ext>
  </a:extLst>
</a:theme>
</file>

<file path=ppt/theme/theme2.xml><?xml version="1.0" encoding="utf-8"?>
<a:theme xmlns:a="http://schemas.openxmlformats.org/drawingml/2006/main" name="Berry_LichtBlick_Template_2020">
  <a:themeElements>
    <a:clrScheme name="Custom 1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D4496A"/>
      </a:accent1>
      <a:accent2>
        <a:srgbClr val="952741"/>
      </a:accent2>
      <a:accent3>
        <a:srgbClr val="E8A6B6"/>
      </a:accent3>
      <a:accent4>
        <a:srgbClr val="FDF6F8"/>
      </a:accent4>
      <a:accent5>
        <a:srgbClr val="E6E6E6"/>
      </a:accent5>
      <a:accent6>
        <a:srgbClr val="B2B2B2"/>
      </a:accent6>
      <a:hlink>
        <a:srgbClr val="B2B2B2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EC76B6A2-CFEF-468F-A488-BD1F9ADEF577}"/>
    </a:ext>
  </a:extLst>
</a:theme>
</file>

<file path=ppt/theme/theme3.xml><?xml version="1.0" encoding="utf-8"?>
<a:theme xmlns:a="http://schemas.openxmlformats.org/drawingml/2006/main" name="Aqua_LichtBlick_Template_2020">
  <a:themeElements>
    <a:clrScheme name="Custom 2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0BA3C1"/>
      </a:accent1>
      <a:accent2>
        <a:srgbClr val="087A91"/>
      </a:accent2>
      <a:accent3>
        <a:srgbClr val="75C1D0"/>
      </a:accent3>
      <a:accent4>
        <a:srgbClr val="F1F9FA"/>
      </a:accent4>
      <a:accent5>
        <a:srgbClr val="E6E6E6"/>
      </a:accent5>
      <a:accent6>
        <a:srgbClr val="B2B2B2"/>
      </a:accent6>
      <a:hlink>
        <a:srgbClr val="B2B2B2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410C14E0-2DFF-4CED-BC1A-42EBBF7C9E1C}"/>
    </a:ext>
  </a:extLst>
</a:theme>
</file>

<file path=ppt/theme/theme4.xml><?xml version="1.0" encoding="utf-8"?>
<a:theme xmlns:a="http://schemas.openxmlformats.org/drawingml/2006/main" name="Grün_LichtBlick_Template_2020">
  <a:themeElements>
    <a:clrScheme name="Custom 3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077144"/>
      </a:accent1>
      <a:accent2>
        <a:srgbClr val="054D2E"/>
      </a:accent2>
      <a:accent3>
        <a:srgbClr val="7CC199"/>
      </a:accent3>
      <a:accent4>
        <a:srgbClr val="F2F9F5"/>
      </a:accent4>
      <a:accent5>
        <a:srgbClr val="E6E6E6"/>
      </a:accent5>
      <a:accent6>
        <a:srgbClr val="B2B2B2"/>
      </a:accent6>
      <a:hlink>
        <a:srgbClr val="B2B2B2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8510FF94-ADB9-4DE0-8BF6-A111B594D94C}"/>
    </a:ext>
  </a:extLst>
</a:theme>
</file>

<file path=ppt/theme/theme5.xml><?xml version="1.0" encoding="utf-8"?>
<a:theme xmlns:a="http://schemas.openxmlformats.org/drawingml/2006/main" name="Moss_LichtBlick_Template_2020">
  <a:themeElements>
    <a:clrScheme name="Moss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658A7C"/>
      </a:accent1>
      <a:accent2>
        <a:srgbClr val="3A5047"/>
      </a:accent2>
      <a:accent3>
        <a:srgbClr val="9EB8AE"/>
      </a:accent3>
      <a:accent4>
        <a:srgbClr val="F5F8F7"/>
      </a:accent4>
      <a:accent5>
        <a:srgbClr val="E6E6E6"/>
      </a:accent5>
      <a:accent6>
        <a:srgbClr val="B2B2B2"/>
      </a:accent6>
      <a:hlink>
        <a:srgbClr val="E6E6E6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DC774BBB-5BD2-4EDB-B168-87E7EF27B3CB}"/>
    </a:ext>
  </a:extLst>
</a:theme>
</file>

<file path=ppt/theme/theme6.xml><?xml version="1.0" encoding="utf-8"?>
<a:theme xmlns:a="http://schemas.openxmlformats.org/drawingml/2006/main" name="1_Smoke_LichtBlick_Template_2020">
  <a:themeElements>
    <a:clrScheme name="Smoke_LichtBlick">
      <a:dk1>
        <a:sysClr val="windowText" lastClr="000000"/>
      </a:dk1>
      <a:lt1>
        <a:sysClr val="window" lastClr="FFFFFF"/>
      </a:lt1>
      <a:dk2>
        <a:srgbClr val="FCBC67"/>
      </a:dk2>
      <a:lt2>
        <a:srgbClr val="767676"/>
      </a:lt2>
      <a:accent1>
        <a:srgbClr val="465B68"/>
      </a:accent1>
      <a:accent2>
        <a:srgbClr val="313C49"/>
      </a:accent2>
      <a:accent3>
        <a:srgbClr val="7390A1"/>
      </a:accent3>
      <a:accent4>
        <a:srgbClr val="F1F4F6"/>
      </a:accent4>
      <a:accent5>
        <a:srgbClr val="E6E6E6"/>
      </a:accent5>
      <a:accent6>
        <a:srgbClr val="B2B2B2"/>
      </a:accent6>
      <a:hlink>
        <a:srgbClr val="E6E6E6"/>
      </a:hlink>
      <a:folHlink>
        <a:srgbClr val="767676"/>
      </a:folHlink>
    </a:clrScheme>
    <a:fontScheme name="LichtBlick">
      <a:majorFont>
        <a:latin typeface="Officina Sans ITC Pro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5"/>
        </a:solidFill>
        <a:ln w="3175">
          <a:noFill/>
        </a:ln>
      </a:spPr>
      <a:bodyPr lIns="72000" tIns="72000" rIns="72000" bIns="72000" rtlCol="0" anchor="ctr"/>
      <a:lstStyle>
        <a:defPPr algn="ctr">
          <a:spcBef>
            <a:spcPts val="300"/>
          </a:spcBef>
          <a:spcAft>
            <a:spcPts val="300"/>
          </a:spcAft>
          <a:defRPr sz="1200" dirty="0" err="1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LichtBlick_Template_05_EXP" id="{0F7EAF39-9DCE-4BDF-A5F4-5F2553C98C4F}" vid="{044C27C9-68D0-4512-BF2A-9E6368743E68}"/>
    </a:ext>
  </a:extLst>
</a:theme>
</file>

<file path=ppt/theme/theme7.xml><?xml version="1.0" encoding="utf-8"?>
<a:theme xmlns:a="http://schemas.openxmlformats.org/drawingml/2006/main" name="Office">
  <a:themeElements>
    <a:clrScheme name="LichtBlick 2019">
      <a:dk1>
        <a:srgbClr val="4D4D4D"/>
      </a:dk1>
      <a:lt1>
        <a:srgbClr val="FFFFFF"/>
      </a:lt1>
      <a:dk2>
        <a:srgbClr val="203F99"/>
      </a:dk2>
      <a:lt2>
        <a:srgbClr val="FFFFFF"/>
      </a:lt2>
      <a:accent1>
        <a:srgbClr val="203F99"/>
      </a:accent1>
      <a:accent2>
        <a:srgbClr val="F5881D"/>
      </a:accent2>
      <a:accent3>
        <a:srgbClr val="30762A"/>
      </a:accent3>
      <a:accent4>
        <a:srgbClr val="A7AAAD"/>
      </a:accent4>
      <a:accent5>
        <a:srgbClr val="127DCD"/>
      </a:accent5>
      <a:accent6>
        <a:srgbClr val="DCDCDC"/>
      </a:accent6>
      <a:hlink>
        <a:srgbClr val="203F99"/>
      </a:hlink>
      <a:folHlink>
        <a:srgbClr val="4D4D4D"/>
      </a:folHlink>
    </a:clrScheme>
    <a:fontScheme name="LichtBlick 2019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">
  <a:themeElements>
    <a:clrScheme name="LichtBlick 2019">
      <a:dk1>
        <a:srgbClr val="4D4D4D"/>
      </a:dk1>
      <a:lt1>
        <a:srgbClr val="FFFFFF"/>
      </a:lt1>
      <a:dk2>
        <a:srgbClr val="203F99"/>
      </a:dk2>
      <a:lt2>
        <a:srgbClr val="FFFFFF"/>
      </a:lt2>
      <a:accent1>
        <a:srgbClr val="203F99"/>
      </a:accent1>
      <a:accent2>
        <a:srgbClr val="F5881D"/>
      </a:accent2>
      <a:accent3>
        <a:srgbClr val="30762A"/>
      </a:accent3>
      <a:accent4>
        <a:srgbClr val="A7AAAD"/>
      </a:accent4>
      <a:accent5>
        <a:srgbClr val="127DCD"/>
      </a:accent5>
      <a:accent6>
        <a:srgbClr val="DCDCDC"/>
      </a:accent6>
      <a:hlink>
        <a:srgbClr val="203F99"/>
      </a:hlink>
      <a:folHlink>
        <a:srgbClr val="4D4D4D"/>
      </a:folHlink>
    </a:clrScheme>
    <a:fontScheme name="LichtBlick 2019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c36172c-1e76-4b5d-9cf8-e6ea08d4a28a">
      <Terms xmlns="http://schemas.microsoft.com/office/infopath/2007/PartnerControls"/>
    </lcf76f155ced4ddcb4097134ff3c332f>
    <TaxCatchAll xmlns="5810f87c-5167-4216-adbc-6c901e337368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777D23055C419408870B09E00DE41E1" ma:contentTypeVersion="14" ma:contentTypeDescription="Ein neues Dokument erstellen." ma:contentTypeScope="" ma:versionID="12fe4e62eae6ee36eeda38dc9207e25e">
  <xsd:schema xmlns:xsd="http://www.w3.org/2001/XMLSchema" xmlns:xs="http://www.w3.org/2001/XMLSchema" xmlns:p="http://schemas.microsoft.com/office/2006/metadata/properties" xmlns:ns2="9c36172c-1e76-4b5d-9cf8-e6ea08d4a28a" xmlns:ns3="5810f87c-5167-4216-adbc-6c901e337368" targetNamespace="http://schemas.microsoft.com/office/2006/metadata/properties" ma:root="true" ma:fieldsID="00c64a5ca119596a273a9c0632b4a5db" ns2:_="" ns3:_="">
    <xsd:import namespace="9c36172c-1e76-4b5d-9cf8-e6ea08d4a28a"/>
    <xsd:import namespace="5810f87c-5167-4216-adbc-6c901e33736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36172c-1e76-4b5d-9cf8-e6ea08d4a28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Bildmarkierungen" ma:readOnly="false" ma:fieldId="{5cf76f15-5ced-4ddc-b409-7134ff3c332f}" ma:taxonomyMulti="true" ma:sspId="076befea-6be4-49ec-bbfb-6d47a0ff5c8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10f87c-5167-4216-adbc-6c901e337368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7a171ba4-d888-4748-879b-9b541c440302}" ma:internalName="TaxCatchAll" ma:showField="CatchAllData" ma:web="5810f87c-5167-4216-adbc-6c901e33736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6779671-A497-4CF7-942E-A9D832018801}">
  <ds:schemaRefs>
    <ds:schemaRef ds:uri="5810f87c-5167-4216-adbc-6c901e337368"/>
    <ds:schemaRef ds:uri="9c36172c-1e76-4b5d-9cf8-e6ea08d4a28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18A99F5-7CF0-4302-9AAD-A48B3772E529}">
  <ds:schemaRefs>
    <ds:schemaRef ds:uri="5810f87c-5167-4216-adbc-6c901e337368"/>
    <ds:schemaRef ds:uri="9c36172c-1e76-4b5d-9cf8-e6ea08d4a28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529CCBC-F3CB-41EE-8199-7E8DFA5D884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98</Words>
  <Application>Microsoft Office PowerPoint</Application>
  <PresentationFormat>Widescreen</PresentationFormat>
  <Paragraphs>1049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24" baseType="lpstr">
      <vt:lpstr>Arial</vt:lpstr>
      <vt:lpstr>Calibri</vt:lpstr>
      <vt:lpstr>Calibri Light</vt:lpstr>
      <vt:lpstr>Courier New</vt:lpstr>
      <vt:lpstr>Franklin Gothic Book</vt:lpstr>
      <vt:lpstr>Franklin Gothic Medium</vt:lpstr>
      <vt:lpstr>Georgia</vt:lpstr>
      <vt:lpstr>Inter</vt:lpstr>
      <vt:lpstr>Inter Semi Bold</vt:lpstr>
      <vt:lpstr>Officina Sans ITC Pro Medium</vt:lpstr>
      <vt:lpstr>Symbol</vt:lpstr>
      <vt:lpstr>Verdana</vt:lpstr>
      <vt:lpstr>Smoke_LichtBlick_Template_2020</vt:lpstr>
      <vt:lpstr>Berry_LichtBlick_Template_2020</vt:lpstr>
      <vt:lpstr>Aqua_LichtBlick_Template_2020</vt:lpstr>
      <vt:lpstr>Grün_LichtBlick_Template_2020</vt:lpstr>
      <vt:lpstr>Moss_LichtBlick_Template_2020</vt:lpstr>
      <vt:lpstr>1_Smoke_LichtBlick_Template_2020</vt:lpstr>
      <vt:lpstr>think-cell Folie</vt:lpstr>
      <vt:lpstr>think-cell Slide</vt:lpstr>
      <vt:lpstr>Longmengen Gas</vt:lpstr>
      <vt:lpstr>Market value and MtM of current long positions. And possible change</vt:lpstr>
      <vt:lpstr>Details</vt:lpstr>
      <vt:lpstr>Detail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eter Backeberg</dc:creator>
  <cp:lastModifiedBy>Ruud Wijtvliet</cp:lastModifiedBy>
  <cp:revision>4</cp:revision>
  <cp:lastPrinted>2020-09-07T12:37:18Z</cp:lastPrinted>
  <dcterms:created xsi:type="dcterms:W3CDTF">2019-04-02T12:41:47Z</dcterms:created>
  <dcterms:modified xsi:type="dcterms:W3CDTF">2022-05-13T12:22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77D23055C419408870B09E00DE41E1</vt:lpwstr>
  </property>
  <property fmtid="{D5CDD505-2E9C-101B-9397-08002B2CF9AE}" pid="3" name="MediaServiceImageTags">
    <vt:lpwstr/>
  </property>
</Properties>
</file>